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4" r:id="rId4"/>
  </p:sldMasterIdLst>
  <p:notesMasterIdLst>
    <p:notesMasterId r:id="rId10"/>
  </p:notesMasterIdLst>
  <p:sldIdLst>
    <p:sldId id="305" r:id="rId5"/>
    <p:sldId id="334" r:id="rId6"/>
    <p:sldId id="323" r:id="rId7"/>
    <p:sldId id="331" r:id="rId8"/>
    <p:sldId id="353" r:id="rId9"/>
  </p:sldIdLst>
  <p:sldSz cx="12192000" cy="6858000"/>
  <p:notesSz cx="6805613" cy="9939338"/>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cole Malcher" initials="NM" lastIdx="1" clrIdx="0">
    <p:extLst>
      <p:ext uri="{19B8F6BF-5375-455C-9EA6-DF929625EA0E}">
        <p15:presenceInfo xmlns:p15="http://schemas.microsoft.com/office/powerpoint/2012/main" userId="Nicole Malch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6656"/>
    <a:srgbClr val="4A8522"/>
    <a:srgbClr val="004712"/>
    <a:srgbClr val="FFCCFF"/>
    <a:srgbClr val="FF5050"/>
    <a:srgbClr val="72A152"/>
    <a:srgbClr val="78A22F"/>
    <a:srgbClr val="004412"/>
    <a:srgbClr val="C3DF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0ED2E0-D2B0-49BC-9FAD-A4C798C5F6B6}" v="21" dt="2019-12-02T02:18:54.7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456" autoAdjust="0"/>
    <p:restoredTop sz="96041" autoAdjust="0"/>
  </p:normalViewPr>
  <p:slideViewPr>
    <p:cSldViewPr snapToGrid="0" snapToObjects="1">
      <p:cViewPr varScale="1">
        <p:scale>
          <a:sx n="103" d="100"/>
          <a:sy n="103" d="100"/>
        </p:scale>
        <p:origin x="138" y="348"/>
      </p:cViewPr>
      <p:guideLst/>
    </p:cSldViewPr>
  </p:slideViewPr>
  <p:notesTextViewPr>
    <p:cViewPr>
      <p:scale>
        <a:sx n="1" d="1"/>
        <a:sy n="1" d="1"/>
      </p:scale>
      <p:origin x="0" y="0"/>
    </p:cViewPr>
  </p:notesTextViewPr>
  <p:notesViewPr>
    <p:cSldViewPr snapToGrid="0" snapToObjects="1">
      <p:cViewPr varScale="1">
        <p:scale>
          <a:sx n="99" d="100"/>
          <a:sy n="99" d="100"/>
        </p:scale>
        <p:origin x="4272"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BF828265-01AA-B140-A9DC-DF115E4458DC}" type="datetimeFigureOut">
              <a:rPr lang="en-US" smtClean="0"/>
              <a:t>12/20/2019</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62B31BE1-4377-8544-95F5-FE43C1B7C5D9}" type="slidenum">
              <a:rPr lang="en-US" smtClean="0"/>
              <a:t>‹#›</a:t>
            </a:fld>
            <a:endParaRPr lang="en-US"/>
          </a:p>
        </p:txBody>
      </p:sp>
    </p:spTree>
    <p:extLst>
      <p:ext uri="{BB962C8B-B14F-4D97-AF65-F5344CB8AC3E}">
        <p14:creationId xmlns:p14="http://schemas.microsoft.com/office/powerpoint/2010/main" val="11782294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62B31BE1-4377-8544-95F5-FE43C1B7C5D9}" type="slidenum">
              <a:rPr lang="en-US" smtClean="0"/>
              <a:t>3</a:t>
            </a:fld>
            <a:endParaRPr lang="en-US"/>
          </a:p>
        </p:txBody>
      </p:sp>
    </p:spTree>
    <p:extLst>
      <p:ext uri="{BB962C8B-B14F-4D97-AF65-F5344CB8AC3E}">
        <p14:creationId xmlns:p14="http://schemas.microsoft.com/office/powerpoint/2010/main" val="13255469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Rectangle 8"/>
          <p:cNvSpPr/>
          <p:nvPr userDrawn="1"/>
        </p:nvSpPr>
        <p:spPr>
          <a:xfrm>
            <a:off x="0" y="0"/>
            <a:ext cx="12192001" cy="6858000"/>
          </a:xfrm>
          <a:prstGeom prst="rect">
            <a:avLst/>
          </a:pr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5140036" cy="6237180"/>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7402" y="475986"/>
            <a:ext cx="899162" cy="1380747"/>
          </a:xfrm>
          <a:prstGeom prst="rect">
            <a:avLst/>
          </a:prstGeom>
        </p:spPr>
      </p:pic>
      <p:sp>
        <p:nvSpPr>
          <p:cNvPr id="13" name="Title 1"/>
          <p:cNvSpPr>
            <a:spLocks noGrp="1"/>
          </p:cNvSpPr>
          <p:nvPr>
            <p:ph type="ctrTitle" hasCustomPrompt="1"/>
          </p:nvPr>
        </p:nvSpPr>
        <p:spPr>
          <a:xfrm>
            <a:off x="584837" y="1660959"/>
            <a:ext cx="3401290" cy="2346811"/>
          </a:xfrm>
        </p:spPr>
        <p:txBody>
          <a:bodyPr lIns="0" tIns="0" rIns="0" bIns="0" anchor="t">
            <a:normAutofit/>
          </a:bodyPr>
          <a:lstStyle>
            <a:lvl1pPr algn="l">
              <a:defRPr sz="4200">
                <a:latin typeface="+mn-lt"/>
              </a:defRPr>
            </a:lvl1pPr>
          </a:lstStyle>
          <a:p>
            <a:r>
              <a:rPr lang="en-US" dirty="0"/>
              <a:t>Click to edit Document Title</a:t>
            </a:r>
          </a:p>
        </p:txBody>
      </p:sp>
      <p:sp>
        <p:nvSpPr>
          <p:cNvPr id="15" name="Text Placeholder 13"/>
          <p:cNvSpPr>
            <a:spLocks noGrp="1"/>
          </p:cNvSpPr>
          <p:nvPr>
            <p:ph type="body" sz="quarter" idx="10" hasCustomPrompt="1"/>
          </p:nvPr>
        </p:nvSpPr>
        <p:spPr>
          <a:xfrm>
            <a:off x="9048494" y="5861790"/>
            <a:ext cx="2688070" cy="457200"/>
          </a:xfrm>
        </p:spPr>
        <p:txBody>
          <a:bodyPr lIns="0" tIns="0" rIns="0" bIns="0" anchor="b">
            <a:normAutofit/>
          </a:bodyPr>
          <a:lstStyle>
            <a:lvl1pPr marL="0" indent="0" algn="r">
              <a:buNone/>
              <a:defRPr sz="1800">
                <a:solidFill>
                  <a:schemeClr val="bg1"/>
                </a:solidFill>
                <a:latin typeface="+mn-lt"/>
              </a:defRPr>
            </a:lvl1pPr>
          </a:lstStyle>
          <a:p>
            <a:pPr lvl="0"/>
            <a:r>
              <a:rPr lang="en-US" dirty="0"/>
              <a:t>June 2017</a:t>
            </a:r>
          </a:p>
        </p:txBody>
      </p:sp>
      <p:sp>
        <p:nvSpPr>
          <p:cNvPr id="16" name="Subtitle 2"/>
          <p:cNvSpPr>
            <a:spLocks noGrp="1"/>
          </p:cNvSpPr>
          <p:nvPr>
            <p:ph type="subTitle" idx="1" hasCustomPrompt="1"/>
          </p:nvPr>
        </p:nvSpPr>
        <p:spPr>
          <a:xfrm>
            <a:off x="584837" y="826877"/>
            <a:ext cx="3401290" cy="594841"/>
          </a:xfrm>
        </p:spPr>
        <p:txBody>
          <a:bodyPr lIns="0" tIns="0" rIns="0" bIns="0" anchor="b">
            <a:normAutofit/>
          </a:bodyPr>
          <a:lstStyle>
            <a:lvl1pPr marL="0" indent="0" algn="l">
              <a:buNone/>
              <a:defRPr sz="1800" baseline="0">
                <a:solidFill>
                  <a:srgbClr val="00471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Intro description</a:t>
            </a:r>
          </a:p>
        </p:txBody>
      </p:sp>
    </p:spTree>
    <p:extLst>
      <p:ext uri="{BB962C8B-B14F-4D97-AF65-F5344CB8AC3E}">
        <p14:creationId xmlns:p14="http://schemas.microsoft.com/office/powerpoint/2010/main" val="41632068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00001" y="655200"/>
            <a:ext cx="2592000" cy="8208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A</a:t>
            </a:r>
          </a:p>
        </p:txBody>
      </p:sp>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8" name="Content Placeholder 3"/>
          <p:cNvSpPr>
            <a:spLocks noGrp="1"/>
          </p:cNvSpPr>
          <p:nvPr>
            <p:ph sz="half" idx="17"/>
          </p:nvPr>
        </p:nvSpPr>
        <p:spPr>
          <a:xfrm>
            <a:off x="1800001" y="1476000"/>
            <a:ext cx="2592000" cy="4500000"/>
          </a:xfrm>
          <a:solidFill>
            <a:srgbClr val="C3DF91"/>
          </a:solidFill>
          <a:ln>
            <a:noFill/>
          </a:ln>
        </p:spPr>
        <p:txBody>
          <a:bodyPr lIns="108000" tIns="108000" rIns="108000" bIns="108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p:cNvSpPr>
            <a:spLocks noGrp="1"/>
          </p:cNvSpPr>
          <p:nvPr>
            <p:ph type="body" idx="20" hasCustomPrompt="1"/>
          </p:nvPr>
        </p:nvSpPr>
        <p:spPr>
          <a:xfrm>
            <a:off x="4752000" y="655200"/>
            <a:ext cx="2592000" cy="8208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B</a:t>
            </a:r>
          </a:p>
        </p:txBody>
      </p:sp>
      <p:sp>
        <p:nvSpPr>
          <p:cNvPr id="21" name="Content Placeholder 3"/>
          <p:cNvSpPr>
            <a:spLocks noGrp="1"/>
          </p:cNvSpPr>
          <p:nvPr>
            <p:ph sz="half" idx="21"/>
          </p:nvPr>
        </p:nvSpPr>
        <p:spPr>
          <a:xfrm>
            <a:off x="4752000" y="1476000"/>
            <a:ext cx="2592000" cy="4500000"/>
          </a:xfrm>
          <a:solidFill>
            <a:srgbClr val="C3DF91"/>
          </a:solidFill>
          <a:ln>
            <a:noFill/>
          </a:ln>
        </p:spPr>
        <p:txBody>
          <a:bodyPr lIns="108000" tIns="108000" rIns="108000" bIns="108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p:cNvSpPr>
            <a:spLocks noGrp="1"/>
          </p:cNvSpPr>
          <p:nvPr>
            <p:ph type="body" idx="22" hasCustomPrompt="1"/>
          </p:nvPr>
        </p:nvSpPr>
        <p:spPr>
          <a:xfrm>
            <a:off x="7704000" y="655200"/>
            <a:ext cx="2592000" cy="8208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C</a:t>
            </a:r>
          </a:p>
        </p:txBody>
      </p:sp>
      <p:sp>
        <p:nvSpPr>
          <p:cNvPr id="23" name="Content Placeholder 3"/>
          <p:cNvSpPr>
            <a:spLocks noGrp="1"/>
          </p:cNvSpPr>
          <p:nvPr>
            <p:ph sz="half" idx="23"/>
          </p:nvPr>
        </p:nvSpPr>
        <p:spPr>
          <a:xfrm>
            <a:off x="7704000" y="1476000"/>
            <a:ext cx="2592000" cy="4500000"/>
          </a:xfrm>
          <a:solidFill>
            <a:srgbClr val="C3DF91"/>
          </a:solidFill>
          <a:ln>
            <a:noFill/>
          </a:ln>
        </p:spPr>
        <p:txBody>
          <a:bodyPr lIns="108000" tIns="108000" rIns="108000" bIns="108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2690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00001" y="655200"/>
            <a:ext cx="3960000" cy="5400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A</a:t>
            </a:r>
          </a:p>
        </p:txBody>
      </p:sp>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3" name="Content Placeholder 3"/>
          <p:cNvSpPr>
            <a:spLocks noGrp="1"/>
          </p:cNvSpPr>
          <p:nvPr>
            <p:ph sz="half" idx="13"/>
          </p:nvPr>
        </p:nvSpPr>
        <p:spPr>
          <a:xfrm>
            <a:off x="1800002" y="1195200"/>
            <a:ext cx="3960000" cy="1980000"/>
          </a:xfrm>
          <a:solidFill>
            <a:srgbClr val="C3DF91"/>
          </a:solidFill>
          <a:ln>
            <a:noFill/>
          </a:ln>
        </p:spPr>
        <p:txBody>
          <a:bodyPr lIns="108000" tIns="108000" rIns="108000" bIns="108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2"/>
          <p:cNvSpPr>
            <a:spLocks noGrp="1"/>
          </p:cNvSpPr>
          <p:nvPr>
            <p:ph type="body" idx="14" hasCustomPrompt="1"/>
          </p:nvPr>
        </p:nvSpPr>
        <p:spPr>
          <a:xfrm>
            <a:off x="6336000" y="655200"/>
            <a:ext cx="3960000" cy="540000"/>
          </a:xfrm>
          <a:solidFill>
            <a:srgbClr val="004712"/>
          </a:solidFill>
          <a:ln>
            <a:noFill/>
          </a:ln>
        </p:spPr>
        <p:txBody>
          <a:bodyPr lIns="36000" tIns="46800" rIns="36000" anchor="ctr"/>
          <a:lstStyle>
            <a:lvl1pPr marL="0" indent="0" algn="ctr">
              <a:buNone/>
              <a:defRPr sz="2400" b="1" i="0" baseline="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B</a:t>
            </a:r>
          </a:p>
        </p:txBody>
      </p:sp>
      <p:sp>
        <p:nvSpPr>
          <p:cNvPr id="16" name="Content Placeholder 3"/>
          <p:cNvSpPr>
            <a:spLocks noGrp="1"/>
          </p:cNvSpPr>
          <p:nvPr>
            <p:ph sz="half" idx="15"/>
          </p:nvPr>
        </p:nvSpPr>
        <p:spPr>
          <a:xfrm>
            <a:off x="6336000" y="1195200"/>
            <a:ext cx="3960000" cy="1980000"/>
          </a:xfrm>
          <a:solidFill>
            <a:srgbClr val="C3DF91"/>
          </a:solidFill>
          <a:ln>
            <a:noFill/>
          </a:ln>
        </p:spPr>
        <p:txBody>
          <a:bodyPr lIns="108000" tIns="108000" rIns="108000" bIns="108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p:cNvSpPr>
            <a:spLocks noGrp="1"/>
          </p:cNvSpPr>
          <p:nvPr>
            <p:ph type="body" idx="16" hasCustomPrompt="1"/>
          </p:nvPr>
        </p:nvSpPr>
        <p:spPr>
          <a:xfrm>
            <a:off x="1800001" y="3456000"/>
            <a:ext cx="3960000" cy="5400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C</a:t>
            </a:r>
          </a:p>
        </p:txBody>
      </p:sp>
      <p:sp>
        <p:nvSpPr>
          <p:cNvPr id="18" name="Content Placeholder 3"/>
          <p:cNvSpPr>
            <a:spLocks noGrp="1"/>
          </p:cNvSpPr>
          <p:nvPr>
            <p:ph sz="half" idx="17"/>
          </p:nvPr>
        </p:nvSpPr>
        <p:spPr>
          <a:xfrm>
            <a:off x="1800001" y="3996000"/>
            <a:ext cx="3960000" cy="1980000"/>
          </a:xfrm>
          <a:solidFill>
            <a:srgbClr val="C3DF91"/>
          </a:solidFill>
          <a:ln>
            <a:noFill/>
          </a:ln>
        </p:spPr>
        <p:txBody>
          <a:bodyPr lIns="108000" tIns="108000" rIns="108000" bIns="108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p:cNvSpPr>
            <a:spLocks noGrp="1"/>
          </p:cNvSpPr>
          <p:nvPr>
            <p:ph type="body" idx="18" hasCustomPrompt="1"/>
          </p:nvPr>
        </p:nvSpPr>
        <p:spPr>
          <a:xfrm>
            <a:off x="6336000" y="3456000"/>
            <a:ext cx="3960000" cy="539999"/>
          </a:xfrm>
          <a:solidFill>
            <a:srgbClr val="004712"/>
          </a:solidFill>
          <a:ln>
            <a:noFill/>
          </a:ln>
        </p:spPr>
        <p:txBody>
          <a:bodyPr lIns="36000" tIns="46800" rIns="36000" anchor="ctr"/>
          <a:lstStyle>
            <a:lvl1pPr marL="0" indent="0" algn="ctr">
              <a:buNone/>
              <a:defRPr sz="2400" b="1" i="0" baseline="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D</a:t>
            </a:r>
          </a:p>
        </p:txBody>
      </p:sp>
      <p:sp>
        <p:nvSpPr>
          <p:cNvPr id="20" name="Content Placeholder 3"/>
          <p:cNvSpPr>
            <a:spLocks noGrp="1"/>
          </p:cNvSpPr>
          <p:nvPr>
            <p:ph sz="half" idx="19"/>
          </p:nvPr>
        </p:nvSpPr>
        <p:spPr>
          <a:xfrm>
            <a:off x="6336000" y="3995998"/>
            <a:ext cx="3960000" cy="1980001"/>
          </a:xfrm>
          <a:solidFill>
            <a:srgbClr val="C3DF91"/>
          </a:solidFill>
          <a:ln>
            <a:noFill/>
          </a:ln>
        </p:spPr>
        <p:txBody>
          <a:bodyPr lIns="108000" tIns="108000" rIns="108000" bIns="108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8674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Comparison">
    <p:spTree>
      <p:nvGrpSpPr>
        <p:cNvPr id="1" name=""/>
        <p:cNvGrpSpPr/>
        <p:nvPr/>
      </p:nvGrpSpPr>
      <p:grpSpPr>
        <a:xfrm>
          <a:off x="0" y="0"/>
          <a:ext cx="0" cy="0"/>
          <a:chOff x="0" y="0"/>
          <a:chExt cx="0" cy="0"/>
        </a:xfrm>
      </p:grpSpPr>
      <p:sp>
        <p:nvSpPr>
          <p:cNvPr id="7" name="Chevron 6"/>
          <p:cNvSpPr/>
          <p:nvPr userDrawn="1"/>
        </p:nvSpPr>
        <p:spPr>
          <a:xfrm>
            <a:off x="6172880" y="655201"/>
            <a:ext cx="4220633" cy="823574"/>
          </a:xfrm>
          <a:custGeom>
            <a:avLst/>
            <a:gdLst>
              <a:gd name="connsiteX0" fmla="*/ 0 w 484632"/>
              <a:gd name="connsiteY0" fmla="*/ 0 h 820799"/>
              <a:gd name="connsiteX1" fmla="*/ 242316 w 484632"/>
              <a:gd name="connsiteY1" fmla="*/ 0 h 820799"/>
              <a:gd name="connsiteX2" fmla="*/ 484632 w 484632"/>
              <a:gd name="connsiteY2" fmla="*/ 410400 h 820799"/>
              <a:gd name="connsiteX3" fmla="*/ 242316 w 484632"/>
              <a:gd name="connsiteY3" fmla="*/ 820799 h 820799"/>
              <a:gd name="connsiteX4" fmla="*/ 0 w 484632"/>
              <a:gd name="connsiteY4" fmla="*/ 820799 h 820799"/>
              <a:gd name="connsiteX5" fmla="*/ 242316 w 484632"/>
              <a:gd name="connsiteY5" fmla="*/ 410400 h 820799"/>
              <a:gd name="connsiteX6" fmla="*/ 0 w 484632"/>
              <a:gd name="connsiteY6" fmla="*/ 0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3978294 w 4220610"/>
              <a:gd name="connsiteY5" fmla="*/ 410400 h 820799"/>
              <a:gd name="connsiteX6" fmla="*/ 0 w 4220610"/>
              <a:gd name="connsiteY6" fmla="*/ 13063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255380 w 4220610"/>
              <a:gd name="connsiteY5" fmla="*/ 410400 h 820799"/>
              <a:gd name="connsiteX6" fmla="*/ 0 w 4220610"/>
              <a:gd name="connsiteY6" fmla="*/ 13063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51794 w 4217024"/>
              <a:gd name="connsiteY5" fmla="*/ 41040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30279 w 4217024"/>
              <a:gd name="connsiteY5" fmla="*/ 403228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3985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835 w 4217859"/>
              <a:gd name="connsiteY0" fmla="*/ 2306 h 827674"/>
              <a:gd name="connsiteX1" fmla="*/ 3975543 w 4217859"/>
              <a:gd name="connsiteY1" fmla="*/ 0 h 827674"/>
              <a:gd name="connsiteX2" fmla="*/ 4217859 w 4217859"/>
              <a:gd name="connsiteY2" fmla="*/ 410400 h 827674"/>
              <a:gd name="connsiteX3" fmla="*/ 3975543 w 4217859"/>
              <a:gd name="connsiteY3" fmla="*/ 820799 h 827674"/>
              <a:gd name="connsiteX4" fmla="*/ 0 w 4217859"/>
              <a:gd name="connsiteY4" fmla="*/ 827674 h 827674"/>
              <a:gd name="connsiteX5" fmla="*/ 241871 w 4217859"/>
              <a:gd name="connsiteY5" fmla="*/ 410810 h 827674"/>
              <a:gd name="connsiteX6" fmla="*/ 835 w 4217859"/>
              <a:gd name="connsiteY6" fmla="*/ 2306 h 827674"/>
              <a:gd name="connsiteX0" fmla="*/ 0 w 4217024"/>
              <a:gd name="connsiteY0" fmla="*/ 2306 h 971190"/>
              <a:gd name="connsiteX1" fmla="*/ 3974708 w 4217024"/>
              <a:gd name="connsiteY1" fmla="*/ 0 h 971190"/>
              <a:gd name="connsiteX2" fmla="*/ 4217024 w 4217024"/>
              <a:gd name="connsiteY2" fmla="*/ 410400 h 971190"/>
              <a:gd name="connsiteX3" fmla="*/ 3974708 w 4217024"/>
              <a:gd name="connsiteY3" fmla="*/ 820799 h 971190"/>
              <a:gd name="connsiteX4" fmla="*/ 85275 w 4217024"/>
              <a:gd name="connsiteY4" fmla="*/ 971190 h 971190"/>
              <a:gd name="connsiteX5" fmla="*/ 241036 w 4217024"/>
              <a:gd name="connsiteY5" fmla="*/ 410810 h 971190"/>
              <a:gd name="connsiteX6" fmla="*/ 0 w 4217024"/>
              <a:gd name="connsiteY6" fmla="*/ 2306 h 971190"/>
              <a:gd name="connsiteX0" fmla="*/ 0 w 4217024"/>
              <a:gd name="connsiteY0" fmla="*/ 2306 h 823574"/>
              <a:gd name="connsiteX1" fmla="*/ 3974708 w 4217024"/>
              <a:gd name="connsiteY1" fmla="*/ 0 h 823574"/>
              <a:gd name="connsiteX2" fmla="*/ 4217024 w 4217024"/>
              <a:gd name="connsiteY2" fmla="*/ 410400 h 823574"/>
              <a:gd name="connsiteX3" fmla="*/ 3974708 w 4217024"/>
              <a:gd name="connsiteY3" fmla="*/ 820799 h 823574"/>
              <a:gd name="connsiteX4" fmla="*/ 3266 w 4217024"/>
              <a:gd name="connsiteY4" fmla="*/ 823574 h 823574"/>
              <a:gd name="connsiteX5" fmla="*/ 241036 w 4217024"/>
              <a:gd name="connsiteY5" fmla="*/ 410810 h 823574"/>
              <a:gd name="connsiteX6" fmla="*/ 0 w 4217024"/>
              <a:gd name="connsiteY6" fmla="*/ 2306 h 823574"/>
              <a:gd name="connsiteX0" fmla="*/ 3609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3609 w 4220633"/>
              <a:gd name="connsiteY6" fmla="*/ 2306 h 823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33" h="823574">
                <a:moveTo>
                  <a:pt x="3609" y="2306"/>
                </a:moveTo>
                <a:lnTo>
                  <a:pt x="3978317" y="0"/>
                </a:lnTo>
                <a:lnTo>
                  <a:pt x="4220633" y="410400"/>
                </a:lnTo>
                <a:lnTo>
                  <a:pt x="3978317" y="820799"/>
                </a:lnTo>
                <a:lnTo>
                  <a:pt x="0" y="823574"/>
                </a:lnTo>
                <a:lnTo>
                  <a:pt x="244645" y="410810"/>
                </a:lnTo>
                <a:lnTo>
                  <a:pt x="3609" y="2306"/>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5" name="Text Placeholder 2"/>
          <p:cNvSpPr>
            <a:spLocks noGrp="1"/>
          </p:cNvSpPr>
          <p:nvPr>
            <p:ph type="body" idx="14" hasCustomPrompt="1"/>
          </p:nvPr>
        </p:nvSpPr>
        <p:spPr>
          <a:xfrm>
            <a:off x="6428345" y="655200"/>
            <a:ext cx="3708160" cy="8208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B</a:t>
            </a:r>
          </a:p>
        </p:txBody>
      </p:sp>
      <p:sp>
        <p:nvSpPr>
          <p:cNvPr id="18" name="Content Placeholder 3"/>
          <p:cNvSpPr>
            <a:spLocks noGrp="1"/>
          </p:cNvSpPr>
          <p:nvPr>
            <p:ph sz="half" idx="17"/>
          </p:nvPr>
        </p:nvSpPr>
        <p:spPr>
          <a:xfrm>
            <a:off x="1959496" y="1476000"/>
            <a:ext cx="3960000" cy="4500000"/>
          </a:xfrm>
          <a:solidFill>
            <a:srgbClr val="C3DF91"/>
          </a:solidFill>
          <a:ln>
            <a:noFill/>
          </a:ln>
        </p:spPr>
        <p:txBody>
          <a:bodyPr lIns="180000" tIns="180000" rIns="180000" bIns="180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half" idx="19"/>
          </p:nvPr>
        </p:nvSpPr>
        <p:spPr>
          <a:xfrm>
            <a:off x="6176505" y="1476000"/>
            <a:ext cx="3960000" cy="4500000"/>
          </a:xfrm>
          <a:solidFill>
            <a:srgbClr val="C3DF91"/>
          </a:solidFill>
          <a:ln>
            <a:noFill/>
          </a:ln>
        </p:spPr>
        <p:txBody>
          <a:bodyPr lIns="180000" tIns="180000" rIns="180000" bIns="180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Chevron 1"/>
          <p:cNvSpPr/>
          <p:nvPr userDrawn="1"/>
        </p:nvSpPr>
        <p:spPr>
          <a:xfrm>
            <a:off x="5513699" y="655200"/>
            <a:ext cx="820800" cy="820800"/>
          </a:xfrm>
          <a:custGeom>
            <a:avLst/>
            <a:gdLst>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410400 w 820800"/>
              <a:gd name="connsiteY5" fmla="*/ 410400 h 820800"/>
              <a:gd name="connsiteX6" fmla="*/ 0 w 820800"/>
              <a:gd name="connsiteY6" fmla="*/ 0 h 820800"/>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10729 w 820800"/>
              <a:gd name="connsiteY5" fmla="*/ 446733 h 820800"/>
              <a:gd name="connsiteX6" fmla="*/ 0 w 820800"/>
              <a:gd name="connsiteY6" fmla="*/ 0 h 820800"/>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361956 w 820800"/>
              <a:gd name="connsiteY5" fmla="*/ 440677 h 820800"/>
              <a:gd name="connsiteX6" fmla="*/ 0 w 820800"/>
              <a:gd name="connsiteY6" fmla="*/ 0 h 82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0800" h="820800">
                <a:moveTo>
                  <a:pt x="0" y="0"/>
                </a:moveTo>
                <a:lnTo>
                  <a:pt x="410400" y="0"/>
                </a:lnTo>
                <a:lnTo>
                  <a:pt x="820800" y="410400"/>
                </a:lnTo>
                <a:lnTo>
                  <a:pt x="410400" y="820800"/>
                </a:lnTo>
                <a:lnTo>
                  <a:pt x="0" y="820800"/>
                </a:lnTo>
                <a:lnTo>
                  <a:pt x="361956" y="440677"/>
                </a:lnTo>
                <a:lnTo>
                  <a:pt x="0" y="0"/>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Chevron 1"/>
          <p:cNvSpPr/>
          <p:nvPr userDrawn="1"/>
        </p:nvSpPr>
        <p:spPr>
          <a:xfrm>
            <a:off x="1549096" y="655200"/>
            <a:ext cx="820800" cy="820800"/>
          </a:xfrm>
          <a:custGeom>
            <a:avLst/>
            <a:gdLst>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410400 w 820800"/>
              <a:gd name="connsiteY5" fmla="*/ 410400 h 820800"/>
              <a:gd name="connsiteX6" fmla="*/ 0 w 820800"/>
              <a:gd name="connsiteY6" fmla="*/ 0 h 820800"/>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10729 w 820800"/>
              <a:gd name="connsiteY5" fmla="*/ 446733 h 820800"/>
              <a:gd name="connsiteX6" fmla="*/ 0 w 820800"/>
              <a:gd name="connsiteY6" fmla="*/ 0 h 820800"/>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361956 w 820800"/>
              <a:gd name="connsiteY5" fmla="*/ 440677 h 820800"/>
              <a:gd name="connsiteX6" fmla="*/ 0 w 820800"/>
              <a:gd name="connsiteY6" fmla="*/ 0 h 82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0800" h="820800">
                <a:moveTo>
                  <a:pt x="0" y="0"/>
                </a:moveTo>
                <a:lnTo>
                  <a:pt x="410400" y="0"/>
                </a:lnTo>
                <a:lnTo>
                  <a:pt x="820800" y="410400"/>
                </a:lnTo>
                <a:lnTo>
                  <a:pt x="410400" y="820800"/>
                </a:lnTo>
                <a:lnTo>
                  <a:pt x="0" y="820800"/>
                </a:lnTo>
                <a:lnTo>
                  <a:pt x="361956" y="44067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Chevron 16"/>
          <p:cNvSpPr/>
          <p:nvPr userDrawn="1"/>
        </p:nvSpPr>
        <p:spPr>
          <a:xfrm>
            <a:off x="5929020" y="655200"/>
            <a:ext cx="499325" cy="820799"/>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hevron 6"/>
          <p:cNvSpPr/>
          <p:nvPr userDrawn="1"/>
        </p:nvSpPr>
        <p:spPr>
          <a:xfrm>
            <a:off x="1941606" y="655200"/>
            <a:ext cx="4220633" cy="823574"/>
          </a:xfrm>
          <a:custGeom>
            <a:avLst/>
            <a:gdLst>
              <a:gd name="connsiteX0" fmla="*/ 0 w 484632"/>
              <a:gd name="connsiteY0" fmla="*/ 0 h 820799"/>
              <a:gd name="connsiteX1" fmla="*/ 242316 w 484632"/>
              <a:gd name="connsiteY1" fmla="*/ 0 h 820799"/>
              <a:gd name="connsiteX2" fmla="*/ 484632 w 484632"/>
              <a:gd name="connsiteY2" fmla="*/ 410400 h 820799"/>
              <a:gd name="connsiteX3" fmla="*/ 242316 w 484632"/>
              <a:gd name="connsiteY3" fmla="*/ 820799 h 820799"/>
              <a:gd name="connsiteX4" fmla="*/ 0 w 484632"/>
              <a:gd name="connsiteY4" fmla="*/ 820799 h 820799"/>
              <a:gd name="connsiteX5" fmla="*/ 242316 w 484632"/>
              <a:gd name="connsiteY5" fmla="*/ 410400 h 820799"/>
              <a:gd name="connsiteX6" fmla="*/ 0 w 484632"/>
              <a:gd name="connsiteY6" fmla="*/ 0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3978294 w 4220610"/>
              <a:gd name="connsiteY5" fmla="*/ 410400 h 820799"/>
              <a:gd name="connsiteX6" fmla="*/ 0 w 4220610"/>
              <a:gd name="connsiteY6" fmla="*/ 13063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255380 w 4220610"/>
              <a:gd name="connsiteY5" fmla="*/ 410400 h 820799"/>
              <a:gd name="connsiteX6" fmla="*/ 0 w 4220610"/>
              <a:gd name="connsiteY6" fmla="*/ 13063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51794 w 4217024"/>
              <a:gd name="connsiteY5" fmla="*/ 41040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30279 w 4217024"/>
              <a:gd name="connsiteY5" fmla="*/ 403228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3985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835 w 4217859"/>
              <a:gd name="connsiteY0" fmla="*/ 2306 h 827674"/>
              <a:gd name="connsiteX1" fmla="*/ 3975543 w 4217859"/>
              <a:gd name="connsiteY1" fmla="*/ 0 h 827674"/>
              <a:gd name="connsiteX2" fmla="*/ 4217859 w 4217859"/>
              <a:gd name="connsiteY2" fmla="*/ 410400 h 827674"/>
              <a:gd name="connsiteX3" fmla="*/ 3975543 w 4217859"/>
              <a:gd name="connsiteY3" fmla="*/ 820799 h 827674"/>
              <a:gd name="connsiteX4" fmla="*/ 0 w 4217859"/>
              <a:gd name="connsiteY4" fmla="*/ 827674 h 827674"/>
              <a:gd name="connsiteX5" fmla="*/ 241871 w 4217859"/>
              <a:gd name="connsiteY5" fmla="*/ 410810 h 827674"/>
              <a:gd name="connsiteX6" fmla="*/ 835 w 4217859"/>
              <a:gd name="connsiteY6" fmla="*/ 2306 h 827674"/>
              <a:gd name="connsiteX0" fmla="*/ 0 w 4217024"/>
              <a:gd name="connsiteY0" fmla="*/ 2306 h 971190"/>
              <a:gd name="connsiteX1" fmla="*/ 3974708 w 4217024"/>
              <a:gd name="connsiteY1" fmla="*/ 0 h 971190"/>
              <a:gd name="connsiteX2" fmla="*/ 4217024 w 4217024"/>
              <a:gd name="connsiteY2" fmla="*/ 410400 h 971190"/>
              <a:gd name="connsiteX3" fmla="*/ 3974708 w 4217024"/>
              <a:gd name="connsiteY3" fmla="*/ 820799 h 971190"/>
              <a:gd name="connsiteX4" fmla="*/ 85275 w 4217024"/>
              <a:gd name="connsiteY4" fmla="*/ 971190 h 971190"/>
              <a:gd name="connsiteX5" fmla="*/ 241036 w 4217024"/>
              <a:gd name="connsiteY5" fmla="*/ 410810 h 971190"/>
              <a:gd name="connsiteX6" fmla="*/ 0 w 4217024"/>
              <a:gd name="connsiteY6" fmla="*/ 2306 h 971190"/>
              <a:gd name="connsiteX0" fmla="*/ 0 w 4217024"/>
              <a:gd name="connsiteY0" fmla="*/ 2306 h 823574"/>
              <a:gd name="connsiteX1" fmla="*/ 3974708 w 4217024"/>
              <a:gd name="connsiteY1" fmla="*/ 0 h 823574"/>
              <a:gd name="connsiteX2" fmla="*/ 4217024 w 4217024"/>
              <a:gd name="connsiteY2" fmla="*/ 410400 h 823574"/>
              <a:gd name="connsiteX3" fmla="*/ 3974708 w 4217024"/>
              <a:gd name="connsiteY3" fmla="*/ 820799 h 823574"/>
              <a:gd name="connsiteX4" fmla="*/ 3266 w 4217024"/>
              <a:gd name="connsiteY4" fmla="*/ 823574 h 823574"/>
              <a:gd name="connsiteX5" fmla="*/ 241036 w 4217024"/>
              <a:gd name="connsiteY5" fmla="*/ 410810 h 823574"/>
              <a:gd name="connsiteX6" fmla="*/ 0 w 4217024"/>
              <a:gd name="connsiteY6" fmla="*/ 2306 h 823574"/>
              <a:gd name="connsiteX0" fmla="*/ 3609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3609 w 4220633"/>
              <a:gd name="connsiteY6" fmla="*/ 2306 h 823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633" h="823574">
                <a:moveTo>
                  <a:pt x="3609" y="2306"/>
                </a:moveTo>
                <a:lnTo>
                  <a:pt x="3978317" y="0"/>
                </a:lnTo>
                <a:lnTo>
                  <a:pt x="4220633" y="410400"/>
                </a:lnTo>
                <a:lnTo>
                  <a:pt x="3978317" y="820799"/>
                </a:lnTo>
                <a:lnTo>
                  <a:pt x="0" y="823574"/>
                </a:lnTo>
                <a:lnTo>
                  <a:pt x="244645" y="410810"/>
                </a:lnTo>
                <a:lnTo>
                  <a:pt x="3609" y="2306"/>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 Placeholder 2"/>
          <p:cNvSpPr>
            <a:spLocks noGrp="1"/>
          </p:cNvSpPr>
          <p:nvPr>
            <p:ph type="body" idx="20" hasCustomPrompt="1"/>
          </p:nvPr>
        </p:nvSpPr>
        <p:spPr>
          <a:xfrm>
            <a:off x="2206168" y="655199"/>
            <a:ext cx="3709703" cy="8208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A</a:t>
            </a:r>
          </a:p>
        </p:txBody>
      </p:sp>
      <p:sp>
        <p:nvSpPr>
          <p:cNvPr id="22" name="Chevron 21"/>
          <p:cNvSpPr/>
          <p:nvPr userDrawn="1"/>
        </p:nvSpPr>
        <p:spPr>
          <a:xfrm>
            <a:off x="1529567" y="505210"/>
            <a:ext cx="681812" cy="112077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2270711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Comparison">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0" name="Chevron 1"/>
          <p:cNvSpPr/>
          <p:nvPr userDrawn="1"/>
        </p:nvSpPr>
        <p:spPr>
          <a:xfrm>
            <a:off x="1549096" y="655200"/>
            <a:ext cx="820800" cy="820800"/>
          </a:xfrm>
          <a:custGeom>
            <a:avLst/>
            <a:gdLst>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410400 w 820800"/>
              <a:gd name="connsiteY5" fmla="*/ 410400 h 820800"/>
              <a:gd name="connsiteX6" fmla="*/ 0 w 820800"/>
              <a:gd name="connsiteY6" fmla="*/ 0 h 820800"/>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10729 w 820800"/>
              <a:gd name="connsiteY5" fmla="*/ 446733 h 820800"/>
              <a:gd name="connsiteX6" fmla="*/ 0 w 820800"/>
              <a:gd name="connsiteY6" fmla="*/ 0 h 820800"/>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361956 w 820800"/>
              <a:gd name="connsiteY5" fmla="*/ 440677 h 820800"/>
              <a:gd name="connsiteX6" fmla="*/ 0 w 820800"/>
              <a:gd name="connsiteY6" fmla="*/ 0 h 82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0800" h="820800">
                <a:moveTo>
                  <a:pt x="0" y="0"/>
                </a:moveTo>
                <a:lnTo>
                  <a:pt x="410400" y="0"/>
                </a:lnTo>
                <a:lnTo>
                  <a:pt x="820800" y="410400"/>
                </a:lnTo>
                <a:lnTo>
                  <a:pt x="410400" y="820800"/>
                </a:lnTo>
                <a:lnTo>
                  <a:pt x="0" y="820800"/>
                </a:lnTo>
                <a:lnTo>
                  <a:pt x="361956" y="44067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Content Placeholder 3"/>
          <p:cNvSpPr>
            <a:spLocks noGrp="1"/>
          </p:cNvSpPr>
          <p:nvPr>
            <p:ph sz="half" idx="21"/>
          </p:nvPr>
        </p:nvSpPr>
        <p:spPr>
          <a:xfrm>
            <a:off x="7629110" y="1476000"/>
            <a:ext cx="2520000" cy="4500000"/>
          </a:xfrm>
          <a:solidFill>
            <a:srgbClr val="C3DF91"/>
          </a:solidFill>
          <a:ln>
            <a:noFill/>
          </a:ln>
        </p:spPr>
        <p:txBody>
          <a:bodyPr lIns="108000" tIns="108000" rIns="180000" bIns="108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hevron 6"/>
          <p:cNvSpPr/>
          <p:nvPr userDrawn="1"/>
        </p:nvSpPr>
        <p:spPr>
          <a:xfrm>
            <a:off x="7550418" y="655199"/>
            <a:ext cx="2843095" cy="820799"/>
          </a:xfrm>
          <a:custGeom>
            <a:avLst/>
            <a:gdLst>
              <a:gd name="connsiteX0" fmla="*/ 0 w 484632"/>
              <a:gd name="connsiteY0" fmla="*/ 0 h 820799"/>
              <a:gd name="connsiteX1" fmla="*/ 242316 w 484632"/>
              <a:gd name="connsiteY1" fmla="*/ 0 h 820799"/>
              <a:gd name="connsiteX2" fmla="*/ 484632 w 484632"/>
              <a:gd name="connsiteY2" fmla="*/ 410400 h 820799"/>
              <a:gd name="connsiteX3" fmla="*/ 242316 w 484632"/>
              <a:gd name="connsiteY3" fmla="*/ 820799 h 820799"/>
              <a:gd name="connsiteX4" fmla="*/ 0 w 484632"/>
              <a:gd name="connsiteY4" fmla="*/ 820799 h 820799"/>
              <a:gd name="connsiteX5" fmla="*/ 242316 w 484632"/>
              <a:gd name="connsiteY5" fmla="*/ 410400 h 820799"/>
              <a:gd name="connsiteX6" fmla="*/ 0 w 484632"/>
              <a:gd name="connsiteY6" fmla="*/ 0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3978294 w 4220610"/>
              <a:gd name="connsiteY5" fmla="*/ 410400 h 820799"/>
              <a:gd name="connsiteX6" fmla="*/ 0 w 4220610"/>
              <a:gd name="connsiteY6" fmla="*/ 13063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255380 w 4220610"/>
              <a:gd name="connsiteY5" fmla="*/ 410400 h 820799"/>
              <a:gd name="connsiteX6" fmla="*/ 0 w 4220610"/>
              <a:gd name="connsiteY6" fmla="*/ 13063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51794 w 4217024"/>
              <a:gd name="connsiteY5" fmla="*/ 41040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30279 w 4217024"/>
              <a:gd name="connsiteY5" fmla="*/ 403228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3985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835 w 4217859"/>
              <a:gd name="connsiteY0" fmla="*/ 2306 h 827674"/>
              <a:gd name="connsiteX1" fmla="*/ 3975543 w 4217859"/>
              <a:gd name="connsiteY1" fmla="*/ 0 h 827674"/>
              <a:gd name="connsiteX2" fmla="*/ 4217859 w 4217859"/>
              <a:gd name="connsiteY2" fmla="*/ 410400 h 827674"/>
              <a:gd name="connsiteX3" fmla="*/ 3975543 w 4217859"/>
              <a:gd name="connsiteY3" fmla="*/ 820799 h 827674"/>
              <a:gd name="connsiteX4" fmla="*/ 0 w 4217859"/>
              <a:gd name="connsiteY4" fmla="*/ 827674 h 827674"/>
              <a:gd name="connsiteX5" fmla="*/ 241871 w 4217859"/>
              <a:gd name="connsiteY5" fmla="*/ 410810 h 827674"/>
              <a:gd name="connsiteX6" fmla="*/ 835 w 4217859"/>
              <a:gd name="connsiteY6" fmla="*/ 2306 h 827674"/>
              <a:gd name="connsiteX0" fmla="*/ 0 w 4217024"/>
              <a:gd name="connsiteY0" fmla="*/ 2306 h 971190"/>
              <a:gd name="connsiteX1" fmla="*/ 3974708 w 4217024"/>
              <a:gd name="connsiteY1" fmla="*/ 0 h 971190"/>
              <a:gd name="connsiteX2" fmla="*/ 4217024 w 4217024"/>
              <a:gd name="connsiteY2" fmla="*/ 410400 h 971190"/>
              <a:gd name="connsiteX3" fmla="*/ 3974708 w 4217024"/>
              <a:gd name="connsiteY3" fmla="*/ 820799 h 971190"/>
              <a:gd name="connsiteX4" fmla="*/ 85275 w 4217024"/>
              <a:gd name="connsiteY4" fmla="*/ 971190 h 971190"/>
              <a:gd name="connsiteX5" fmla="*/ 241036 w 4217024"/>
              <a:gd name="connsiteY5" fmla="*/ 410810 h 971190"/>
              <a:gd name="connsiteX6" fmla="*/ 0 w 4217024"/>
              <a:gd name="connsiteY6" fmla="*/ 2306 h 971190"/>
              <a:gd name="connsiteX0" fmla="*/ 0 w 4217024"/>
              <a:gd name="connsiteY0" fmla="*/ 2306 h 823574"/>
              <a:gd name="connsiteX1" fmla="*/ 3974708 w 4217024"/>
              <a:gd name="connsiteY1" fmla="*/ 0 h 823574"/>
              <a:gd name="connsiteX2" fmla="*/ 4217024 w 4217024"/>
              <a:gd name="connsiteY2" fmla="*/ 410400 h 823574"/>
              <a:gd name="connsiteX3" fmla="*/ 3974708 w 4217024"/>
              <a:gd name="connsiteY3" fmla="*/ 820799 h 823574"/>
              <a:gd name="connsiteX4" fmla="*/ 3266 w 4217024"/>
              <a:gd name="connsiteY4" fmla="*/ 823574 h 823574"/>
              <a:gd name="connsiteX5" fmla="*/ 241036 w 4217024"/>
              <a:gd name="connsiteY5" fmla="*/ 410810 h 823574"/>
              <a:gd name="connsiteX6" fmla="*/ 0 w 4217024"/>
              <a:gd name="connsiteY6" fmla="*/ 2306 h 823574"/>
              <a:gd name="connsiteX0" fmla="*/ 3609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3609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1191142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1675622 w 4220633"/>
              <a:gd name="connsiteY5" fmla="*/ 422685 h 823574"/>
              <a:gd name="connsiteX6" fmla="*/ 1191142 w 4220633"/>
              <a:gd name="connsiteY6" fmla="*/ 2306 h 823574"/>
              <a:gd name="connsiteX0" fmla="*/ 0 w 3029491"/>
              <a:gd name="connsiteY0" fmla="*/ 2306 h 820799"/>
              <a:gd name="connsiteX1" fmla="*/ 2787175 w 3029491"/>
              <a:gd name="connsiteY1" fmla="*/ 0 h 820799"/>
              <a:gd name="connsiteX2" fmla="*/ 3029491 w 3029491"/>
              <a:gd name="connsiteY2" fmla="*/ 410400 h 820799"/>
              <a:gd name="connsiteX3" fmla="*/ 2787175 w 3029491"/>
              <a:gd name="connsiteY3" fmla="*/ 820799 h 820799"/>
              <a:gd name="connsiteX4" fmla="*/ 186396 w 3029491"/>
              <a:gd name="connsiteY4" fmla="*/ 817637 h 820799"/>
              <a:gd name="connsiteX5" fmla="*/ 484480 w 3029491"/>
              <a:gd name="connsiteY5" fmla="*/ 422685 h 820799"/>
              <a:gd name="connsiteX6" fmla="*/ 0 w 3029491"/>
              <a:gd name="connsiteY6" fmla="*/ 2306 h 820799"/>
              <a:gd name="connsiteX0" fmla="*/ 15484 w 2843095"/>
              <a:gd name="connsiteY0" fmla="*/ 103246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15484 w 2843095"/>
              <a:gd name="connsiteY6" fmla="*/ 103246 h 820799"/>
              <a:gd name="connsiteX0" fmla="*/ 9546 w 2843095"/>
              <a:gd name="connsiteY0" fmla="*/ 8244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9546 w 2843095"/>
              <a:gd name="connsiteY6" fmla="*/ 8244 h 820799"/>
              <a:gd name="connsiteX0" fmla="*/ 32993 w 2843095"/>
              <a:gd name="connsiteY0" fmla="*/ 4337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32993 w 2843095"/>
              <a:gd name="connsiteY6" fmla="*/ 4337 h 82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3095" h="820799">
                <a:moveTo>
                  <a:pt x="32993" y="4337"/>
                </a:moveTo>
                <a:lnTo>
                  <a:pt x="2600779" y="0"/>
                </a:lnTo>
                <a:lnTo>
                  <a:pt x="2843095" y="410400"/>
                </a:lnTo>
                <a:lnTo>
                  <a:pt x="2600779" y="820799"/>
                </a:lnTo>
                <a:lnTo>
                  <a:pt x="0" y="817637"/>
                </a:lnTo>
                <a:lnTo>
                  <a:pt x="298084" y="422685"/>
                </a:lnTo>
                <a:lnTo>
                  <a:pt x="32993" y="4337"/>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Text Placeholder 2"/>
          <p:cNvSpPr>
            <a:spLocks noGrp="1"/>
          </p:cNvSpPr>
          <p:nvPr>
            <p:ph type="body" idx="22" hasCustomPrompt="1"/>
          </p:nvPr>
        </p:nvSpPr>
        <p:spPr>
          <a:xfrm>
            <a:off x="7875783" y="655199"/>
            <a:ext cx="2273328" cy="8208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C</a:t>
            </a:r>
          </a:p>
        </p:txBody>
      </p:sp>
      <p:sp>
        <p:nvSpPr>
          <p:cNvPr id="27" name="Chevron 26"/>
          <p:cNvSpPr/>
          <p:nvPr userDrawn="1"/>
        </p:nvSpPr>
        <p:spPr>
          <a:xfrm>
            <a:off x="7199181" y="505210"/>
            <a:ext cx="681812" cy="112077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Content Placeholder 3"/>
          <p:cNvSpPr>
            <a:spLocks noGrp="1"/>
          </p:cNvSpPr>
          <p:nvPr>
            <p:ph sz="half" idx="23"/>
          </p:nvPr>
        </p:nvSpPr>
        <p:spPr>
          <a:xfrm>
            <a:off x="4802591" y="1476000"/>
            <a:ext cx="2520000" cy="4500000"/>
          </a:xfrm>
          <a:solidFill>
            <a:srgbClr val="C3DF91"/>
          </a:solidFill>
          <a:ln>
            <a:noFill/>
          </a:ln>
        </p:spPr>
        <p:txBody>
          <a:bodyPr lIns="108000" tIns="108000" rIns="180000" bIns="108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hevron 6"/>
          <p:cNvSpPr/>
          <p:nvPr userDrawn="1"/>
        </p:nvSpPr>
        <p:spPr>
          <a:xfrm>
            <a:off x="4723899" y="655199"/>
            <a:ext cx="2843095" cy="820799"/>
          </a:xfrm>
          <a:custGeom>
            <a:avLst/>
            <a:gdLst>
              <a:gd name="connsiteX0" fmla="*/ 0 w 484632"/>
              <a:gd name="connsiteY0" fmla="*/ 0 h 820799"/>
              <a:gd name="connsiteX1" fmla="*/ 242316 w 484632"/>
              <a:gd name="connsiteY1" fmla="*/ 0 h 820799"/>
              <a:gd name="connsiteX2" fmla="*/ 484632 w 484632"/>
              <a:gd name="connsiteY2" fmla="*/ 410400 h 820799"/>
              <a:gd name="connsiteX3" fmla="*/ 242316 w 484632"/>
              <a:gd name="connsiteY3" fmla="*/ 820799 h 820799"/>
              <a:gd name="connsiteX4" fmla="*/ 0 w 484632"/>
              <a:gd name="connsiteY4" fmla="*/ 820799 h 820799"/>
              <a:gd name="connsiteX5" fmla="*/ 242316 w 484632"/>
              <a:gd name="connsiteY5" fmla="*/ 410400 h 820799"/>
              <a:gd name="connsiteX6" fmla="*/ 0 w 484632"/>
              <a:gd name="connsiteY6" fmla="*/ 0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3978294 w 4220610"/>
              <a:gd name="connsiteY5" fmla="*/ 410400 h 820799"/>
              <a:gd name="connsiteX6" fmla="*/ 0 w 4220610"/>
              <a:gd name="connsiteY6" fmla="*/ 13063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255380 w 4220610"/>
              <a:gd name="connsiteY5" fmla="*/ 410400 h 820799"/>
              <a:gd name="connsiteX6" fmla="*/ 0 w 4220610"/>
              <a:gd name="connsiteY6" fmla="*/ 13063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51794 w 4217024"/>
              <a:gd name="connsiteY5" fmla="*/ 41040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30279 w 4217024"/>
              <a:gd name="connsiteY5" fmla="*/ 403228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3985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835 w 4217859"/>
              <a:gd name="connsiteY0" fmla="*/ 2306 h 827674"/>
              <a:gd name="connsiteX1" fmla="*/ 3975543 w 4217859"/>
              <a:gd name="connsiteY1" fmla="*/ 0 h 827674"/>
              <a:gd name="connsiteX2" fmla="*/ 4217859 w 4217859"/>
              <a:gd name="connsiteY2" fmla="*/ 410400 h 827674"/>
              <a:gd name="connsiteX3" fmla="*/ 3975543 w 4217859"/>
              <a:gd name="connsiteY3" fmla="*/ 820799 h 827674"/>
              <a:gd name="connsiteX4" fmla="*/ 0 w 4217859"/>
              <a:gd name="connsiteY4" fmla="*/ 827674 h 827674"/>
              <a:gd name="connsiteX5" fmla="*/ 241871 w 4217859"/>
              <a:gd name="connsiteY5" fmla="*/ 410810 h 827674"/>
              <a:gd name="connsiteX6" fmla="*/ 835 w 4217859"/>
              <a:gd name="connsiteY6" fmla="*/ 2306 h 827674"/>
              <a:gd name="connsiteX0" fmla="*/ 0 w 4217024"/>
              <a:gd name="connsiteY0" fmla="*/ 2306 h 971190"/>
              <a:gd name="connsiteX1" fmla="*/ 3974708 w 4217024"/>
              <a:gd name="connsiteY1" fmla="*/ 0 h 971190"/>
              <a:gd name="connsiteX2" fmla="*/ 4217024 w 4217024"/>
              <a:gd name="connsiteY2" fmla="*/ 410400 h 971190"/>
              <a:gd name="connsiteX3" fmla="*/ 3974708 w 4217024"/>
              <a:gd name="connsiteY3" fmla="*/ 820799 h 971190"/>
              <a:gd name="connsiteX4" fmla="*/ 85275 w 4217024"/>
              <a:gd name="connsiteY4" fmla="*/ 971190 h 971190"/>
              <a:gd name="connsiteX5" fmla="*/ 241036 w 4217024"/>
              <a:gd name="connsiteY5" fmla="*/ 410810 h 971190"/>
              <a:gd name="connsiteX6" fmla="*/ 0 w 4217024"/>
              <a:gd name="connsiteY6" fmla="*/ 2306 h 971190"/>
              <a:gd name="connsiteX0" fmla="*/ 0 w 4217024"/>
              <a:gd name="connsiteY0" fmla="*/ 2306 h 823574"/>
              <a:gd name="connsiteX1" fmla="*/ 3974708 w 4217024"/>
              <a:gd name="connsiteY1" fmla="*/ 0 h 823574"/>
              <a:gd name="connsiteX2" fmla="*/ 4217024 w 4217024"/>
              <a:gd name="connsiteY2" fmla="*/ 410400 h 823574"/>
              <a:gd name="connsiteX3" fmla="*/ 3974708 w 4217024"/>
              <a:gd name="connsiteY3" fmla="*/ 820799 h 823574"/>
              <a:gd name="connsiteX4" fmla="*/ 3266 w 4217024"/>
              <a:gd name="connsiteY4" fmla="*/ 823574 h 823574"/>
              <a:gd name="connsiteX5" fmla="*/ 241036 w 4217024"/>
              <a:gd name="connsiteY5" fmla="*/ 410810 h 823574"/>
              <a:gd name="connsiteX6" fmla="*/ 0 w 4217024"/>
              <a:gd name="connsiteY6" fmla="*/ 2306 h 823574"/>
              <a:gd name="connsiteX0" fmla="*/ 3609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3609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1191142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1675622 w 4220633"/>
              <a:gd name="connsiteY5" fmla="*/ 422685 h 823574"/>
              <a:gd name="connsiteX6" fmla="*/ 1191142 w 4220633"/>
              <a:gd name="connsiteY6" fmla="*/ 2306 h 823574"/>
              <a:gd name="connsiteX0" fmla="*/ 0 w 3029491"/>
              <a:gd name="connsiteY0" fmla="*/ 2306 h 820799"/>
              <a:gd name="connsiteX1" fmla="*/ 2787175 w 3029491"/>
              <a:gd name="connsiteY1" fmla="*/ 0 h 820799"/>
              <a:gd name="connsiteX2" fmla="*/ 3029491 w 3029491"/>
              <a:gd name="connsiteY2" fmla="*/ 410400 h 820799"/>
              <a:gd name="connsiteX3" fmla="*/ 2787175 w 3029491"/>
              <a:gd name="connsiteY3" fmla="*/ 820799 h 820799"/>
              <a:gd name="connsiteX4" fmla="*/ 186396 w 3029491"/>
              <a:gd name="connsiteY4" fmla="*/ 817637 h 820799"/>
              <a:gd name="connsiteX5" fmla="*/ 484480 w 3029491"/>
              <a:gd name="connsiteY5" fmla="*/ 422685 h 820799"/>
              <a:gd name="connsiteX6" fmla="*/ 0 w 3029491"/>
              <a:gd name="connsiteY6" fmla="*/ 2306 h 820799"/>
              <a:gd name="connsiteX0" fmla="*/ 15484 w 2843095"/>
              <a:gd name="connsiteY0" fmla="*/ 103246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15484 w 2843095"/>
              <a:gd name="connsiteY6" fmla="*/ 103246 h 820799"/>
              <a:gd name="connsiteX0" fmla="*/ 9546 w 2843095"/>
              <a:gd name="connsiteY0" fmla="*/ 8244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9546 w 2843095"/>
              <a:gd name="connsiteY6" fmla="*/ 8244 h 820799"/>
              <a:gd name="connsiteX0" fmla="*/ 32993 w 2843095"/>
              <a:gd name="connsiteY0" fmla="*/ 4337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32993 w 2843095"/>
              <a:gd name="connsiteY6" fmla="*/ 4337 h 82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3095" h="820799">
                <a:moveTo>
                  <a:pt x="32993" y="4337"/>
                </a:moveTo>
                <a:lnTo>
                  <a:pt x="2600779" y="0"/>
                </a:lnTo>
                <a:lnTo>
                  <a:pt x="2843095" y="410400"/>
                </a:lnTo>
                <a:lnTo>
                  <a:pt x="2600779" y="820799"/>
                </a:lnTo>
                <a:lnTo>
                  <a:pt x="0" y="817637"/>
                </a:lnTo>
                <a:lnTo>
                  <a:pt x="298084" y="422685"/>
                </a:lnTo>
                <a:lnTo>
                  <a:pt x="32993" y="4337"/>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Text Placeholder 2"/>
          <p:cNvSpPr>
            <a:spLocks noGrp="1"/>
          </p:cNvSpPr>
          <p:nvPr>
            <p:ph type="body" idx="24" hasCustomPrompt="1"/>
          </p:nvPr>
        </p:nvSpPr>
        <p:spPr>
          <a:xfrm>
            <a:off x="5049264" y="655199"/>
            <a:ext cx="2273328" cy="8208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B</a:t>
            </a:r>
          </a:p>
        </p:txBody>
      </p:sp>
      <p:sp>
        <p:nvSpPr>
          <p:cNvPr id="31" name="Chevron 30"/>
          <p:cNvSpPr/>
          <p:nvPr userDrawn="1"/>
        </p:nvSpPr>
        <p:spPr>
          <a:xfrm>
            <a:off x="4372662" y="505210"/>
            <a:ext cx="681812" cy="112077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hevron 6"/>
          <p:cNvSpPr/>
          <p:nvPr userDrawn="1"/>
        </p:nvSpPr>
        <p:spPr>
          <a:xfrm>
            <a:off x="1880804" y="655199"/>
            <a:ext cx="2843095" cy="820799"/>
          </a:xfrm>
          <a:custGeom>
            <a:avLst/>
            <a:gdLst>
              <a:gd name="connsiteX0" fmla="*/ 0 w 484632"/>
              <a:gd name="connsiteY0" fmla="*/ 0 h 820799"/>
              <a:gd name="connsiteX1" fmla="*/ 242316 w 484632"/>
              <a:gd name="connsiteY1" fmla="*/ 0 h 820799"/>
              <a:gd name="connsiteX2" fmla="*/ 484632 w 484632"/>
              <a:gd name="connsiteY2" fmla="*/ 410400 h 820799"/>
              <a:gd name="connsiteX3" fmla="*/ 242316 w 484632"/>
              <a:gd name="connsiteY3" fmla="*/ 820799 h 820799"/>
              <a:gd name="connsiteX4" fmla="*/ 0 w 484632"/>
              <a:gd name="connsiteY4" fmla="*/ 820799 h 820799"/>
              <a:gd name="connsiteX5" fmla="*/ 242316 w 484632"/>
              <a:gd name="connsiteY5" fmla="*/ 410400 h 820799"/>
              <a:gd name="connsiteX6" fmla="*/ 0 w 484632"/>
              <a:gd name="connsiteY6" fmla="*/ 0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3978294 w 4220610"/>
              <a:gd name="connsiteY5" fmla="*/ 410400 h 820799"/>
              <a:gd name="connsiteX6" fmla="*/ 0 w 4220610"/>
              <a:gd name="connsiteY6" fmla="*/ 13063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255380 w 4220610"/>
              <a:gd name="connsiteY5" fmla="*/ 410400 h 820799"/>
              <a:gd name="connsiteX6" fmla="*/ 0 w 4220610"/>
              <a:gd name="connsiteY6" fmla="*/ 13063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51794 w 4217024"/>
              <a:gd name="connsiteY5" fmla="*/ 41040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30279 w 4217024"/>
              <a:gd name="connsiteY5" fmla="*/ 403228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3985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835 w 4217859"/>
              <a:gd name="connsiteY0" fmla="*/ 2306 h 827674"/>
              <a:gd name="connsiteX1" fmla="*/ 3975543 w 4217859"/>
              <a:gd name="connsiteY1" fmla="*/ 0 h 827674"/>
              <a:gd name="connsiteX2" fmla="*/ 4217859 w 4217859"/>
              <a:gd name="connsiteY2" fmla="*/ 410400 h 827674"/>
              <a:gd name="connsiteX3" fmla="*/ 3975543 w 4217859"/>
              <a:gd name="connsiteY3" fmla="*/ 820799 h 827674"/>
              <a:gd name="connsiteX4" fmla="*/ 0 w 4217859"/>
              <a:gd name="connsiteY4" fmla="*/ 827674 h 827674"/>
              <a:gd name="connsiteX5" fmla="*/ 241871 w 4217859"/>
              <a:gd name="connsiteY5" fmla="*/ 410810 h 827674"/>
              <a:gd name="connsiteX6" fmla="*/ 835 w 4217859"/>
              <a:gd name="connsiteY6" fmla="*/ 2306 h 827674"/>
              <a:gd name="connsiteX0" fmla="*/ 0 w 4217024"/>
              <a:gd name="connsiteY0" fmla="*/ 2306 h 971190"/>
              <a:gd name="connsiteX1" fmla="*/ 3974708 w 4217024"/>
              <a:gd name="connsiteY1" fmla="*/ 0 h 971190"/>
              <a:gd name="connsiteX2" fmla="*/ 4217024 w 4217024"/>
              <a:gd name="connsiteY2" fmla="*/ 410400 h 971190"/>
              <a:gd name="connsiteX3" fmla="*/ 3974708 w 4217024"/>
              <a:gd name="connsiteY3" fmla="*/ 820799 h 971190"/>
              <a:gd name="connsiteX4" fmla="*/ 85275 w 4217024"/>
              <a:gd name="connsiteY4" fmla="*/ 971190 h 971190"/>
              <a:gd name="connsiteX5" fmla="*/ 241036 w 4217024"/>
              <a:gd name="connsiteY5" fmla="*/ 410810 h 971190"/>
              <a:gd name="connsiteX6" fmla="*/ 0 w 4217024"/>
              <a:gd name="connsiteY6" fmla="*/ 2306 h 971190"/>
              <a:gd name="connsiteX0" fmla="*/ 0 w 4217024"/>
              <a:gd name="connsiteY0" fmla="*/ 2306 h 823574"/>
              <a:gd name="connsiteX1" fmla="*/ 3974708 w 4217024"/>
              <a:gd name="connsiteY1" fmla="*/ 0 h 823574"/>
              <a:gd name="connsiteX2" fmla="*/ 4217024 w 4217024"/>
              <a:gd name="connsiteY2" fmla="*/ 410400 h 823574"/>
              <a:gd name="connsiteX3" fmla="*/ 3974708 w 4217024"/>
              <a:gd name="connsiteY3" fmla="*/ 820799 h 823574"/>
              <a:gd name="connsiteX4" fmla="*/ 3266 w 4217024"/>
              <a:gd name="connsiteY4" fmla="*/ 823574 h 823574"/>
              <a:gd name="connsiteX5" fmla="*/ 241036 w 4217024"/>
              <a:gd name="connsiteY5" fmla="*/ 410810 h 823574"/>
              <a:gd name="connsiteX6" fmla="*/ 0 w 4217024"/>
              <a:gd name="connsiteY6" fmla="*/ 2306 h 823574"/>
              <a:gd name="connsiteX0" fmla="*/ 3609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3609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1191142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1675622 w 4220633"/>
              <a:gd name="connsiteY5" fmla="*/ 422685 h 823574"/>
              <a:gd name="connsiteX6" fmla="*/ 1191142 w 4220633"/>
              <a:gd name="connsiteY6" fmla="*/ 2306 h 823574"/>
              <a:gd name="connsiteX0" fmla="*/ 0 w 3029491"/>
              <a:gd name="connsiteY0" fmla="*/ 2306 h 820799"/>
              <a:gd name="connsiteX1" fmla="*/ 2787175 w 3029491"/>
              <a:gd name="connsiteY1" fmla="*/ 0 h 820799"/>
              <a:gd name="connsiteX2" fmla="*/ 3029491 w 3029491"/>
              <a:gd name="connsiteY2" fmla="*/ 410400 h 820799"/>
              <a:gd name="connsiteX3" fmla="*/ 2787175 w 3029491"/>
              <a:gd name="connsiteY3" fmla="*/ 820799 h 820799"/>
              <a:gd name="connsiteX4" fmla="*/ 186396 w 3029491"/>
              <a:gd name="connsiteY4" fmla="*/ 817637 h 820799"/>
              <a:gd name="connsiteX5" fmla="*/ 484480 w 3029491"/>
              <a:gd name="connsiteY5" fmla="*/ 422685 h 820799"/>
              <a:gd name="connsiteX6" fmla="*/ 0 w 3029491"/>
              <a:gd name="connsiteY6" fmla="*/ 2306 h 820799"/>
              <a:gd name="connsiteX0" fmla="*/ 15484 w 2843095"/>
              <a:gd name="connsiteY0" fmla="*/ 103246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15484 w 2843095"/>
              <a:gd name="connsiteY6" fmla="*/ 103246 h 820799"/>
              <a:gd name="connsiteX0" fmla="*/ 9546 w 2843095"/>
              <a:gd name="connsiteY0" fmla="*/ 8244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9546 w 2843095"/>
              <a:gd name="connsiteY6" fmla="*/ 8244 h 820799"/>
              <a:gd name="connsiteX0" fmla="*/ 32993 w 2843095"/>
              <a:gd name="connsiteY0" fmla="*/ 4337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32993 w 2843095"/>
              <a:gd name="connsiteY6" fmla="*/ 4337 h 82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3095" h="820799">
                <a:moveTo>
                  <a:pt x="32993" y="4337"/>
                </a:moveTo>
                <a:lnTo>
                  <a:pt x="2600779" y="0"/>
                </a:lnTo>
                <a:lnTo>
                  <a:pt x="2843095" y="410400"/>
                </a:lnTo>
                <a:lnTo>
                  <a:pt x="2600779" y="820799"/>
                </a:lnTo>
                <a:lnTo>
                  <a:pt x="0" y="817637"/>
                </a:lnTo>
                <a:lnTo>
                  <a:pt x="298084" y="422685"/>
                </a:lnTo>
                <a:lnTo>
                  <a:pt x="32993" y="4337"/>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 Placeholder 2"/>
          <p:cNvSpPr>
            <a:spLocks noGrp="1"/>
          </p:cNvSpPr>
          <p:nvPr>
            <p:ph type="body" idx="20" hasCustomPrompt="1"/>
          </p:nvPr>
        </p:nvSpPr>
        <p:spPr>
          <a:xfrm>
            <a:off x="2206169" y="655199"/>
            <a:ext cx="2273328" cy="8208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A</a:t>
            </a:r>
          </a:p>
        </p:txBody>
      </p:sp>
      <p:sp>
        <p:nvSpPr>
          <p:cNvPr id="22" name="Chevron 21"/>
          <p:cNvSpPr/>
          <p:nvPr userDrawn="1"/>
        </p:nvSpPr>
        <p:spPr>
          <a:xfrm>
            <a:off x="1529567" y="505210"/>
            <a:ext cx="681812" cy="112077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3"/>
          <p:cNvSpPr>
            <a:spLocks noGrp="1"/>
          </p:cNvSpPr>
          <p:nvPr>
            <p:ph sz="half" idx="17"/>
          </p:nvPr>
        </p:nvSpPr>
        <p:spPr>
          <a:xfrm>
            <a:off x="1959496" y="1476000"/>
            <a:ext cx="2520000" cy="4500000"/>
          </a:xfrm>
          <a:solidFill>
            <a:srgbClr val="C3DF91"/>
          </a:solidFill>
          <a:ln>
            <a:noFill/>
          </a:ln>
        </p:spPr>
        <p:txBody>
          <a:bodyPr lIns="108000" tIns="108000" rIns="180000" bIns="108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29785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Comparison">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0" name="Chevron 1"/>
          <p:cNvSpPr/>
          <p:nvPr userDrawn="1"/>
        </p:nvSpPr>
        <p:spPr>
          <a:xfrm>
            <a:off x="1549096" y="655200"/>
            <a:ext cx="820800" cy="820800"/>
          </a:xfrm>
          <a:custGeom>
            <a:avLst/>
            <a:gdLst>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410400 w 820800"/>
              <a:gd name="connsiteY5" fmla="*/ 410400 h 820800"/>
              <a:gd name="connsiteX6" fmla="*/ 0 w 820800"/>
              <a:gd name="connsiteY6" fmla="*/ 0 h 820800"/>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10729 w 820800"/>
              <a:gd name="connsiteY5" fmla="*/ 446733 h 820800"/>
              <a:gd name="connsiteX6" fmla="*/ 0 w 820800"/>
              <a:gd name="connsiteY6" fmla="*/ 0 h 820800"/>
              <a:gd name="connsiteX0" fmla="*/ 0 w 820800"/>
              <a:gd name="connsiteY0" fmla="*/ 0 h 820800"/>
              <a:gd name="connsiteX1" fmla="*/ 410400 w 820800"/>
              <a:gd name="connsiteY1" fmla="*/ 0 h 820800"/>
              <a:gd name="connsiteX2" fmla="*/ 820800 w 820800"/>
              <a:gd name="connsiteY2" fmla="*/ 410400 h 820800"/>
              <a:gd name="connsiteX3" fmla="*/ 410400 w 820800"/>
              <a:gd name="connsiteY3" fmla="*/ 820800 h 820800"/>
              <a:gd name="connsiteX4" fmla="*/ 0 w 820800"/>
              <a:gd name="connsiteY4" fmla="*/ 820800 h 820800"/>
              <a:gd name="connsiteX5" fmla="*/ 361956 w 820800"/>
              <a:gd name="connsiteY5" fmla="*/ 440677 h 820800"/>
              <a:gd name="connsiteX6" fmla="*/ 0 w 820800"/>
              <a:gd name="connsiteY6" fmla="*/ 0 h 82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0800" h="820800">
                <a:moveTo>
                  <a:pt x="0" y="0"/>
                </a:moveTo>
                <a:lnTo>
                  <a:pt x="410400" y="0"/>
                </a:lnTo>
                <a:lnTo>
                  <a:pt x="820800" y="410400"/>
                </a:lnTo>
                <a:lnTo>
                  <a:pt x="410400" y="820800"/>
                </a:lnTo>
                <a:lnTo>
                  <a:pt x="0" y="820800"/>
                </a:lnTo>
                <a:lnTo>
                  <a:pt x="361956" y="44067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Chevron 26"/>
          <p:cNvSpPr/>
          <p:nvPr userDrawn="1"/>
        </p:nvSpPr>
        <p:spPr>
          <a:xfrm>
            <a:off x="7199181" y="505210"/>
            <a:ext cx="681812" cy="112077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hevron 6"/>
          <p:cNvSpPr/>
          <p:nvPr userDrawn="1"/>
        </p:nvSpPr>
        <p:spPr>
          <a:xfrm>
            <a:off x="8160567" y="655200"/>
            <a:ext cx="2177859" cy="628746"/>
          </a:xfrm>
          <a:custGeom>
            <a:avLst/>
            <a:gdLst>
              <a:gd name="connsiteX0" fmla="*/ 0 w 484632"/>
              <a:gd name="connsiteY0" fmla="*/ 0 h 820799"/>
              <a:gd name="connsiteX1" fmla="*/ 242316 w 484632"/>
              <a:gd name="connsiteY1" fmla="*/ 0 h 820799"/>
              <a:gd name="connsiteX2" fmla="*/ 484632 w 484632"/>
              <a:gd name="connsiteY2" fmla="*/ 410400 h 820799"/>
              <a:gd name="connsiteX3" fmla="*/ 242316 w 484632"/>
              <a:gd name="connsiteY3" fmla="*/ 820799 h 820799"/>
              <a:gd name="connsiteX4" fmla="*/ 0 w 484632"/>
              <a:gd name="connsiteY4" fmla="*/ 820799 h 820799"/>
              <a:gd name="connsiteX5" fmla="*/ 242316 w 484632"/>
              <a:gd name="connsiteY5" fmla="*/ 410400 h 820799"/>
              <a:gd name="connsiteX6" fmla="*/ 0 w 484632"/>
              <a:gd name="connsiteY6" fmla="*/ 0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3978294 w 4220610"/>
              <a:gd name="connsiteY5" fmla="*/ 410400 h 820799"/>
              <a:gd name="connsiteX6" fmla="*/ 0 w 4220610"/>
              <a:gd name="connsiteY6" fmla="*/ 13063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255380 w 4220610"/>
              <a:gd name="connsiteY5" fmla="*/ 410400 h 820799"/>
              <a:gd name="connsiteX6" fmla="*/ 0 w 4220610"/>
              <a:gd name="connsiteY6" fmla="*/ 13063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51794 w 4217024"/>
              <a:gd name="connsiteY5" fmla="*/ 41040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30279 w 4217024"/>
              <a:gd name="connsiteY5" fmla="*/ 403228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3985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835 w 4217859"/>
              <a:gd name="connsiteY0" fmla="*/ 2306 h 827674"/>
              <a:gd name="connsiteX1" fmla="*/ 3975543 w 4217859"/>
              <a:gd name="connsiteY1" fmla="*/ 0 h 827674"/>
              <a:gd name="connsiteX2" fmla="*/ 4217859 w 4217859"/>
              <a:gd name="connsiteY2" fmla="*/ 410400 h 827674"/>
              <a:gd name="connsiteX3" fmla="*/ 3975543 w 4217859"/>
              <a:gd name="connsiteY3" fmla="*/ 820799 h 827674"/>
              <a:gd name="connsiteX4" fmla="*/ 0 w 4217859"/>
              <a:gd name="connsiteY4" fmla="*/ 827674 h 827674"/>
              <a:gd name="connsiteX5" fmla="*/ 241871 w 4217859"/>
              <a:gd name="connsiteY5" fmla="*/ 410810 h 827674"/>
              <a:gd name="connsiteX6" fmla="*/ 835 w 4217859"/>
              <a:gd name="connsiteY6" fmla="*/ 2306 h 827674"/>
              <a:gd name="connsiteX0" fmla="*/ 0 w 4217024"/>
              <a:gd name="connsiteY0" fmla="*/ 2306 h 971190"/>
              <a:gd name="connsiteX1" fmla="*/ 3974708 w 4217024"/>
              <a:gd name="connsiteY1" fmla="*/ 0 h 971190"/>
              <a:gd name="connsiteX2" fmla="*/ 4217024 w 4217024"/>
              <a:gd name="connsiteY2" fmla="*/ 410400 h 971190"/>
              <a:gd name="connsiteX3" fmla="*/ 3974708 w 4217024"/>
              <a:gd name="connsiteY3" fmla="*/ 820799 h 971190"/>
              <a:gd name="connsiteX4" fmla="*/ 85275 w 4217024"/>
              <a:gd name="connsiteY4" fmla="*/ 971190 h 971190"/>
              <a:gd name="connsiteX5" fmla="*/ 241036 w 4217024"/>
              <a:gd name="connsiteY5" fmla="*/ 410810 h 971190"/>
              <a:gd name="connsiteX6" fmla="*/ 0 w 4217024"/>
              <a:gd name="connsiteY6" fmla="*/ 2306 h 971190"/>
              <a:gd name="connsiteX0" fmla="*/ 0 w 4217024"/>
              <a:gd name="connsiteY0" fmla="*/ 2306 h 823574"/>
              <a:gd name="connsiteX1" fmla="*/ 3974708 w 4217024"/>
              <a:gd name="connsiteY1" fmla="*/ 0 h 823574"/>
              <a:gd name="connsiteX2" fmla="*/ 4217024 w 4217024"/>
              <a:gd name="connsiteY2" fmla="*/ 410400 h 823574"/>
              <a:gd name="connsiteX3" fmla="*/ 3974708 w 4217024"/>
              <a:gd name="connsiteY3" fmla="*/ 820799 h 823574"/>
              <a:gd name="connsiteX4" fmla="*/ 3266 w 4217024"/>
              <a:gd name="connsiteY4" fmla="*/ 823574 h 823574"/>
              <a:gd name="connsiteX5" fmla="*/ 241036 w 4217024"/>
              <a:gd name="connsiteY5" fmla="*/ 410810 h 823574"/>
              <a:gd name="connsiteX6" fmla="*/ 0 w 4217024"/>
              <a:gd name="connsiteY6" fmla="*/ 2306 h 823574"/>
              <a:gd name="connsiteX0" fmla="*/ 3609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3609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1191142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1675622 w 4220633"/>
              <a:gd name="connsiteY5" fmla="*/ 422685 h 823574"/>
              <a:gd name="connsiteX6" fmla="*/ 1191142 w 4220633"/>
              <a:gd name="connsiteY6" fmla="*/ 2306 h 823574"/>
              <a:gd name="connsiteX0" fmla="*/ 0 w 3029491"/>
              <a:gd name="connsiteY0" fmla="*/ 2306 h 820799"/>
              <a:gd name="connsiteX1" fmla="*/ 2787175 w 3029491"/>
              <a:gd name="connsiteY1" fmla="*/ 0 h 820799"/>
              <a:gd name="connsiteX2" fmla="*/ 3029491 w 3029491"/>
              <a:gd name="connsiteY2" fmla="*/ 410400 h 820799"/>
              <a:gd name="connsiteX3" fmla="*/ 2787175 w 3029491"/>
              <a:gd name="connsiteY3" fmla="*/ 820799 h 820799"/>
              <a:gd name="connsiteX4" fmla="*/ 186396 w 3029491"/>
              <a:gd name="connsiteY4" fmla="*/ 817637 h 820799"/>
              <a:gd name="connsiteX5" fmla="*/ 484480 w 3029491"/>
              <a:gd name="connsiteY5" fmla="*/ 422685 h 820799"/>
              <a:gd name="connsiteX6" fmla="*/ 0 w 3029491"/>
              <a:gd name="connsiteY6" fmla="*/ 2306 h 820799"/>
              <a:gd name="connsiteX0" fmla="*/ 15484 w 2843095"/>
              <a:gd name="connsiteY0" fmla="*/ 103246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15484 w 2843095"/>
              <a:gd name="connsiteY6" fmla="*/ 103246 h 820799"/>
              <a:gd name="connsiteX0" fmla="*/ 9546 w 2843095"/>
              <a:gd name="connsiteY0" fmla="*/ 8244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9546 w 2843095"/>
              <a:gd name="connsiteY6" fmla="*/ 8244 h 820799"/>
              <a:gd name="connsiteX0" fmla="*/ 32993 w 2843095"/>
              <a:gd name="connsiteY0" fmla="*/ 4337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32993 w 2843095"/>
              <a:gd name="connsiteY6" fmla="*/ 4337 h 82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3095" h="820799">
                <a:moveTo>
                  <a:pt x="32993" y="4337"/>
                </a:moveTo>
                <a:lnTo>
                  <a:pt x="2600779" y="0"/>
                </a:lnTo>
                <a:lnTo>
                  <a:pt x="2843095" y="410400"/>
                </a:lnTo>
                <a:lnTo>
                  <a:pt x="2600779" y="820799"/>
                </a:lnTo>
                <a:lnTo>
                  <a:pt x="0" y="817637"/>
                </a:lnTo>
                <a:lnTo>
                  <a:pt x="298084" y="422685"/>
                </a:lnTo>
                <a:lnTo>
                  <a:pt x="32993" y="4337"/>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Text Placeholder 2"/>
          <p:cNvSpPr>
            <a:spLocks noGrp="1"/>
          </p:cNvSpPr>
          <p:nvPr>
            <p:ph type="body" idx="23" hasCustomPrompt="1"/>
          </p:nvPr>
        </p:nvSpPr>
        <p:spPr>
          <a:xfrm>
            <a:off x="8490360" y="655199"/>
            <a:ext cx="1658998" cy="628747"/>
          </a:xfrm>
          <a:solidFill>
            <a:srgbClr val="004712"/>
          </a:solidFill>
          <a:ln>
            <a:noFill/>
          </a:ln>
        </p:spPr>
        <p:txBody>
          <a:bodyPr lIns="36000" tIns="46800" rIns="36000" anchor="ctr">
            <a:normAutofit/>
          </a:bodyPr>
          <a:lstStyle>
            <a:lvl1pPr marL="0" indent="0" algn="ctr">
              <a:buNone/>
              <a:defRPr sz="18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D</a:t>
            </a:r>
          </a:p>
        </p:txBody>
      </p:sp>
      <p:sp>
        <p:nvSpPr>
          <p:cNvPr id="35" name="Chevron 34"/>
          <p:cNvSpPr/>
          <p:nvPr userDrawn="1"/>
        </p:nvSpPr>
        <p:spPr>
          <a:xfrm>
            <a:off x="7946586" y="535848"/>
            <a:ext cx="522280" cy="85853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Content Placeholder 3"/>
          <p:cNvSpPr>
            <a:spLocks noGrp="1"/>
          </p:cNvSpPr>
          <p:nvPr>
            <p:ph sz="half" idx="24"/>
          </p:nvPr>
        </p:nvSpPr>
        <p:spPr>
          <a:xfrm>
            <a:off x="8277359" y="1284384"/>
            <a:ext cx="1872000" cy="4692054"/>
          </a:xfrm>
          <a:solidFill>
            <a:srgbClr val="C3DF91"/>
          </a:solidFill>
          <a:ln>
            <a:noFill/>
          </a:ln>
        </p:spPr>
        <p:txBody>
          <a:bodyPr lIns="72000" tIns="108000" rIns="72000" bIns="108000" anchor="t"/>
          <a:lstStyle>
            <a:lvl1pPr marL="185738" indent="-185738">
              <a:tabLst/>
              <a:defRPr sz="1600"/>
            </a:lvl1pPr>
            <a:lvl2pPr marL="360363" indent="-190500">
              <a:tabLst/>
              <a:defRPr sz="1600"/>
            </a:lvl2pPr>
            <a:lvl3pPr marL="533400" indent="-187325">
              <a:buClr>
                <a:srgbClr val="78A22F"/>
              </a:buClr>
              <a:tabLst/>
              <a:defRPr sz="1400"/>
            </a:lvl3pPr>
            <a:lvl4pPr marL="720725" indent="-187325">
              <a:tabLst/>
              <a:defRPr sz="1400"/>
            </a:lvl4pPr>
            <a:lvl5pPr marL="935038" indent="-173038">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Chevron 6"/>
          <p:cNvSpPr/>
          <p:nvPr userDrawn="1"/>
        </p:nvSpPr>
        <p:spPr>
          <a:xfrm>
            <a:off x="6063000" y="655200"/>
            <a:ext cx="2177859" cy="628746"/>
          </a:xfrm>
          <a:custGeom>
            <a:avLst/>
            <a:gdLst>
              <a:gd name="connsiteX0" fmla="*/ 0 w 484632"/>
              <a:gd name="connsiteY0" fmla="*/ 0 h 820799"/>
              <a:gd name="connsiteX1" fmla="*/ 242316 w 484632"/>
              <a:gd name="connsiteY1" fmla="*/ 0 h 820799"/>
              <a:gd name="connsiteX2" fmla="*/ 484632 w 484632"/>
              <a:gd name="connsiteY2" fmla="*/ 410400 h 820799"/>
              <a:gd name="connsiteX3" fmla="*/ 242316 w 484632"/>
              <a:gd name="connsiteY3" fmla="*/ 820799 h 820799"/>
              <a:gd name="connsiteX4" fmla="*/ 0 w 484632"/>
              <a:gd name="connsiteY4" fmla="*/ 820799 h 820799"/>
              <a:gd name="connsiteX5" fmla="*/ 242316 w 484632"/>
              <a:gd name="connsiteY5" fmla="*/ 410400 h 820799"/>
              <a:gd name="connsiteX6" fmla="*/ 0 w 484632"/>
              <a:gd name="connsiteY6" fmla="*/ 0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3978294 w 4220610"/>
              <a:gd name="connsiteY5" fmla="*/ 410400 h 820799"/>
              <a:gd name="connsiteX6" fmla="*/ 0 w 4220610"/>
              <a:gd name="connsiteY6" fmla="*/ 13063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255380 w 4220610"/>
              <a:gd name="connsiteY5" fmla="*/ 410400 h 820799"/>
              <a:gd name="connsiteX6" fmla="*/ 0 w 4220610"/>
              <a:gd name="connsiteY6" fmla="*/ 13063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51794 w 4217024"/>
              <a:gd name="connsiteY5" fmla="*/ 41040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30279 w 4217024"/>
              <a:gd name="connsiteY5" fmla="*/ 403228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3985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835 w 4217859"/>
              <a:gd name="connsiteY0" fmla="*/ 2306 h 827674"/>
              <a:gd name="connsiteX1" fmla="*/ 3975543 w 4217859"/>
              <a:gd name="connsiteY1" fmla="*/ 0 h 827674"/>
              <a:gd name="connsiteX2" fmla="*/ 4217859 w 4217859"/>
              <a:gd name="connsiteY2" fmla="*/ 410400 h 827674"/>
              <a:gd name="connsiteX3" fmla="*/ 3975543 w 4217859"/>
              <a:gd name="connsiteY3" fmla="*/ 820799 h 827674"/>
              <a:gd name="connsiteX4" fmla="*/ 0 w 4217859"/>
              <a:gd name="connsiteY4" fmla="*/ 827674 h 827674"/>
              <a:gd name="connsiteX5" fmla="*/ 241871 w 4217859"/>
              <a:gd name="connsiteY5" fmla="*/ 410810 h 827674"/>
              <a:gd name="connsiteX6" fmla="*/ 835 w 4217859"/>
              <a:gd name="connsiteY6" fmla="*/ 2306 h 827674"/>
              <a:gd name="connsiteX0" fmla="*/ 0 w 4217024"/>
              <a:gd name="connsiteY0" fmla="*/ 2306 h 971190"/>
              <a:gd name="connsiteX1" fmla="*/ 3974708 w 4217024"/>
              <a:gd name="connsiteY1" fmla="*/ 0 h 971190"/>
              <a:gd name="connsiteX2" fmla="*/ 4217024 w 4217024"/>
              <a:gd name="connsiteY2" fmla="*/ 410400 h 971190"/>
              <a:gd name="connsiteX3" fmla="*/ 3974708 w 4217024"/>
              <a:gd name="connsiteY3" fmla="*/ 820799 h 971190"/>
              <a:gd name="connsiteX4" fmla="*/ 85275 w 4217024"/>
              <a:gd name="connsiteY4" fmla="*/ 971190 h 971190"/>
              <a:gd name="connsiteX5" fmla="*/ 241036 w 4217024"/>
              <a:gd name="connsiteY5" fmla="*/ 410810 h 971190"/>
              <a:gd name="connsiteX6" fmla="*/ 0 w 4217024"/>
              <a:gd name="connsiteY6" fmla="*/ 2306 h 971190"/>
              <a:gd name="connsiteX0" fmla="*/ 0 w 4217024"/>
              <a:gd name="connsiteY0" fmla="*/ 2306 h 823574"/>
              <a:gd name="connsiteX1" fmla="*/ 3974708 w 4217024"/>
              <a:gd name="connsiteY1" fmla="*/ 0 h 823574"/>
              <a:gd name="connsiteX2" fmla="*/ 4217024 w 4217024"/>
              <a:gd name="connsiteY2" fmla="*/ 410400 h 823574"/>
              <a:gd name="connsiteX3" fmla="*/ 3974708 w 4217024"/>
              <a:gd name="connsiteY3" fmla="*/ 820799 h 823574"/>
              <a:gd name="connsiteX4" fmla="*/ 3266 w 4217024"/>
              <a:gd name="connsiteY4" fmla="*/ 823574 h 823574"/>
              <a:gd name="connsiteX5" fmla="*/ 241036 w 4217024"/>
              <a:gd name="connsiteY5" fmla="*/ 410810 h 823574"/>
              <a:gd name="connsiteX6" fmla="*/ 0 w 4217024"/>
              <a:gd name="connsiteY6" fmla="*/ 2306 h 823574"/>
              <a:gd name="connsiteX0" fmla="*/ 3609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3609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1191142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1675622 w 4220633"/>
              <a:gd name="connsiteY5" fmla="*/ 422685 h 823574"/>
              <a:gd name="connsiteX6" fmla="*/ 1191142 w 4220633"/>
              <a:gd name="connsiteY6" fmla="*/ 2306 h 823574"/>
              <a:gd name="connsiteX0" fmla="*/ 0 w 3029491"/>
              <a:gd name="connsiteY0" fmla="*/ 2306 h 820799"/>
              <a:gd name="connsiteX1" fmla="*/ 2787175 w 3029491"/>
              <a:gd name="connsiteY1" fmla="*/ 0 h 820799"/>
              <a:gd name="connsiteX2" fmla="*/ 3029491 w 3029491"/>
              <a:gd name="connsiteY2" fmla="*/ 410400 h 820799"/>
              <a:gd name="connsiteX3" fmla="*/ 2787175 w 3029491"/>
              <a:gd name="connsiteY3" fmla="*/ 820799 h 820799"/>
              <a:gd name="connsiteX4" fmla="*/ 186396 w 3029491"/>
              <a:gd name="connsiteY4" fmla="*/ 817637 h 820799"/>
              <a:gd name="connsiteX5" fmla="*/ 484480 w 3029491"/>
              <a:gd name="connsiteY5" fmla="*/ 422685 h 820799"/>
              <a:gd name="connsiteX6" fmla="*/ 0 w 3029491"/>
              <a:gd name="connsiteY6" fmla="*/ 2306 h 820799"/>
              <a:gd name="connsiteX0" fmla="*/ 15484 w 2843095"/>
              <a:gd name="connsiteY0" fmla="*/ 103246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15484 w 2843095"/>
              <a:gd name="connsiteY6" fmla="*/ 103246 h 820799"/>
              <a:gd name="connsiteX0" fmla="*/ 9546 w 2843095"/>
              <a:gd name="connsiteY0" fmla="*/ 8244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9546 w 2843095"/>
              <a:gd name="connsiteY6" fmla="*/ 8244 h 820799"/>
              <a:gd name="connsiteX0" fmla="*/ 32993 w 2843095"/>
              <a:gd name="connsiteY0" fmla="*/ 4337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32993 w 2843095"/>
              <a:gd name="connsiteY6" fmla="*/ 4337 h 82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3095" h="820799">
                <a:moveTo>
                  <a:pt x="32993" y="4337"/>
                </a:moveTo>
                <a:lnTo>
                  <a:pt x="2600779" y="0"/>
                </a:lnTo>
                <a:lnTo>
                  <a:pt x="2843095" y="410400"/>
                </a:lnTo>
                <a:lnTo>
                  <a:pt x="2600779" y="820799"/>
                </a:lnTo>
                <a:lnTo>
                  <a:pt x="0" y="817637"/>
                </a:lnTo>
                <a:lnTo>
                  <a:pt x="298084" y="422685"/>
                </a:lnTo>
                <a:lnTo>
                  <a:pt x="32993" y="4337"/>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Text Placeholder 2"/>
          <p:cNvSpPr>
            <a:spLocks noGrp="1"/>
          </p:cNvSpPr>
          <p:nvPr>
            <p:ph type="body" idx="25" hasCustomPrompt="1"/>
          </p:nvPr>
        </p:nvSpPr>
        <p:spPr>
          <a:xfrm>
            <a:off x="6392793" y="655199"/>
            <a:ext cx="1658998" cy="628747"/>
          </a:xfrm>
          <a:solidFill>
            <a:srgbClr val="004712"/>
          </a:solidFill>
          <a:ln>
            <a:noFill/>
          </a:ln>
        </p:spPr>
        <p:txBody>
          <a:bodyPr lIns="36000" tIns="46800" rIns="36000" anchor="ctr">
            <a:normAutofit/>
          </a:bodyPr>
          <a:lstStyle>
            <a:lvl1pPr marL="0" indent="0" algn="ctr">
              <a:buNone/>
              <a:defRPr sz="18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C</a:t>
            </a:r>
          </a:p>
        </p:txBody>
      </p:sp>
      <p:sp>
        <p:nvSpPr>
          <p:cNvPr id="39" name="Chevron 38"/>
          <p:cNvSpPr/>
          <p:nvPr userDrawn="1"/>
        </p:nvSpPr>
        <p:spPr>
          <a:xfrm>
            <a:off x="5849019" y="535848"/>
            <a:ext cx="522280" cy="85853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Content Placeholder 3"/>
          <p:cNvSpPr>
            <a:spLocks noGrp="1"/>
          </p:cNvSpPr>
          <p:nvPr>
            <p:ph sz="half" idx="26"/>
          </p:nvPr>
        </p:nvSpPr>
        <p:spPr>
          <a:xfrm>
            <a:off x="6171405" y="1284165"/>
            <a:ext cx="1872000" cy="4692054"/>
          </a:xfrm>
          <a:solidFill>
            <a:srgbClr val="C3DF91"/>
          </a:solidFill>
          <a:ln>
            <a:noFill/>
          </a:ln>
        </p:spPr>
        <p:txBody>
          <a:bodyPr lIns="72000" tIns="108000" rIns="72000" bIns="108000" anchor="t"/>
          <a:lstStyle>
            <a:lvl1pPr marL="185738" indent="-185738">
              <a:tabLst/>
              <a:defRPr sz="1600"/>
            </a:lvl1pPr>
            <a:lvl2pPr marL="360363" indent="-190500">
              <a:tabLst/>
              <a:defRPr sz="1600"/>
            </a:lvl2pPr>
            <a:lvl3pPr marL="533400" indent="-187325">
              <a:buClr>
                <a:srgbClr val="78A22F"/>
              </a:buClr>
              <a:tabLst/>
              <a:defRPr sz="1400"/>
            </a:lvl3pPr>
            <a:lvl4pPr marL="720725" indent="-187325">
              <a:tabLst/>
              <a:defRPr sz="1400"/>
            </a:lvl4pPr>
            <a:lvl5pPr marL="935038" indent="-173038">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Chevron 6"/>
          <p:cNvSpPr/>
          <p:nvPr userDrawn="1"/>
        </p:nvSpPr>
        <p:spPr>
          <a:xfrm>
            <a:off x="3950329" y="655200"/>
            <a:ext cx="2177859" cy="628746"/>
          </a:xfrm>
          <a:custGeom>
            <a:avLst/>
            <a:gdLst>
              <a:gd name="connsiteX0" fmla="*/ 0 w 484632"/>
              <a:gd name="connsiteY0" fmla="*/ 0 h 820799"/>
              <a:gd name="connsiteX1" fmla="*/ 242316 w 484632"/>
              <a:gd name="connsiteY1" fmla="*/ 0 h 820799"/>
              <a:gd name="connsiteX2" fmla="*/ 484632 w 484632"/>
              <a:gd name="connsiteY2" fmla="*/ 410400 h 820799"/>
              <a:gd name="connsiteX3" fmla="*/ 242316 w 484632"/>
              <a:gd name="connsiteY3" fmla="*/ 820799 h 820799"/>
              <a:gd name="connsiteX4" fmla="*/ 0 w 484632"/>
              <a:gd name="connsiteY4" fmla="*/ 820799 h 820799"/>
              <a:gd name="connsiteX5" fmla="*/ 242316 w 484632"/>
              <a:gd name="connsiteY5" fmla="*/ 410400 h 820799"/>
              <a:gd name="connsiteX6" fmla="*/ 0 w 484632"/>
              <a:gd name="connsiteY6" fmla="*/ 0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3978294 w 4220610"/>
              <a:gd name="connsiteY5" fmla="*/ 410400 h 820799"/>
              <a:gd name="connsiteX6" fmla="*/ 0 w 4220610"/>
              <a:gd name="connsiteY6" fmla="*/ 13063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255380 w 4220610"/>
              <a:gd name="connsiteY5" fmla="*/ 410400 h 820799"/>
              <a:gd name="connsiteX6" fmla="*/ 0 w 4220610"/>
              <a:gd name="connsiteY6" fmla="*/ 13063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51794 w 4217024"/>
              <a:gd name="connsiteY5" fmla="*/ 41040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30279 w 4217024"/>
              <a:gd name="connsiteY5" fmla="*/ 403228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3985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835 w 4217859"/>
              <a:gd name="connsiteY0" fmla="*/ 2306 h 827674"/>
              <a:gd name="connsiteX1" fmla="*/ 3975543 w 4217859"/>
              <a:gd name="connsiteY1" fmla="*/ 0 h 827674"/>
              <a:gd name="connsiteX2" fmla="*/ 4217859 w 4217859"/>
              <a:gd name="connsiteY2" fmla="*/ 410400 h 827674"/>
              <a:gd name="connsiteX3" fmla="*/ 3975543 w 4217859"/>
              <a:gd name="connsiteY3" fmla="*/ 820799 h 827674"/>
              <a:gd name="connsiteX4" fmla="*/ 0 w 4217859"/>
              <a:gd name="connsiteY4" fmla="*/ 827674 h 827674"/>
              <a:gd name="connsiteX5" fmla="*/ 241871 w 4217859"/>
              <a:gd name="connsiteY5" fmla="*/ 410810 h 827674"/>
              <a:gd name="connsiteX6" fmla="*/ 835 w 4217859"/>
              <a:gd name="connsiteY6" fmla="*/ 2306 h 827674"/>
              <a:gd name="connsiteX0" fmla="*/ 0 w 4217024"/>
              <a:gd name="connsiteY0" fmla="*/ 2306 h 971190"/>
              <a:gd name="connsiteX1" fmla="*/ 3974708 w 4217024"/>
              <a:gd name="connsiteY1" fmla="*/ 0 h 971190"/>
              <a:gd name="connsiteX2" fmla="*/ 4217024 w 4217024"/>
              <a:gd name="connsiteY2" fmla="*/ 410400 h 971190"/>
              <a:gd name="connsiteX3" fmla="*/ 3974708 w 4217024"/>
              <a:gd name="connsiteY3" fmla="*/ 820799 h 971190"/>
              <a:gd name="connsiteX4" fmla="*/ 85275 w 4217024"/>
              <a:gd name="connsiteY4" fmla="*/ 971190 h 971190"/>
              <a:gd name="connsiteX5" fmla="*/ 241036 w 4217024"/>
              <a:gd name="connsiteY5" fmla="*/ 410810 h 971190"/>
              <a:gd name="connsiteX6" fmla="*/ 0 w 4217024"/>
              <a:gd name="connsiteY6" fmla="*/ 2306 h 971190"/>
              <a:gd name="connsiteX0" fmla="*/ 0 w 4217024"/>
              <a:gd name="connsiteY0" fmla="*/ 2306 h 823574"/>
              <a:gd name="connsiteX1" fmla="*/ 3974708 w 4217024"/>
              <a:gd name="connsiteY1" fmla="*/ 0 h 823574"/>
              <a:gd name="connsiteX2" fmla="*/ 4217024 w 4217024"/>
              <a:gd name="connsiteY2" fmla="*/ 410400 h 823574"/>
              <a:gd name="connsiteX3" fmla="*/ 3974708 w 4217024"/>
              <a:gd name="connsiteY3" fmla="*/ 820799 h 823574"/>
              <a:gd name="connsiteX4" fmla="*/ 3266 w 4217024"/>
              <a:gd name="connsiteY4" fmla="*/ 823574 h 823574"/>
              <a:gd name="connsiteX5" fmla="*/ 241036 w 4217024"/>
              <a:gd name="connsiteY5" fmla="*/ 410810 h 823574"/>
              <a:gd name="connsiteX6" fmla="*/ 0 w 4217024"/>
              <a:gd name="connsiteY6" fmla="*/ 2306 h 823574"/>
              <a:gd name="connsiteX0" fmla="*/ 3609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3609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1191142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1675622 w 4220633"/>
              <a:gd name="connsiteY5" fmla="*/ 422685 h 823574"/>
              <a:gd name="connsiteX6" fmla="*/ 1191142 w 4220633"/>
              <a:gd name="connsiteY6" fmla="*/ 2306 h 823574"/>
              <a:gd name="connsiteX0" fmla="*/ 0 w 3029491"/>
              <a:gd name="connsiteY0" fmla="*/ 2306 h 820799"/>
              <a:gd name="connsiteX1" fmla="*/ 2787175 w 3029491"/>
              <a:gd name="connsiteY1" fmla="*/ 0 h 820799"/>
              <a:gd name="connsiteX2" fmla="*/ 3029491 w 3029491"/>
              <a:gd name="connsiteY2" fmla="*/ 410400 h 820799"/>
              <a:gd name="connsiteX3" fmla="*/ 2787175 w 3029491"/>
              <a:gd name="connsiteY3" fmla="*/ 820799 h 820799"/>
              <a:gd name="connsiteX4" fmla="*/ 186396 w 3029491"/>
              <a:gd name="connsiteY4" fmla="*/ 817637 h 820799"/>
              <a:gd name="connsiteX5" fmla="*/ 484480 w 3029491"/>
              <a:gd name="connsiteY5" fmla="*/ 422685 h 820799"/>
              <a:gd name="connsiteX6" fmla="*/ 0 w 3029491"/>
              <a:gd name="connsiteY6" fmla="*/ 2306 h 820799"/>
              <a:gd name="connsiteX0" fmla="*/ 15484 w 2843095"/>
              <a:gd name="connsiteY0" fmla="*/ 103246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15484 w 2843095"/>
              <a:gd name="connsiteY6" fmla="*/ 103246 h 820799"/>
              <a:gd name="connsiteX0" fmla="*/ 9546 w 2843095"/>
              <a:gd name="connsiteY0" fmla="*/ 8244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9546 w 2843095"/>
              <a:gd name="connsiteY6" fmla="*/ 8244 h 820799"/>
              <a:gd name="connsiteX0" fmla="*/ 32993 w 2843095"/>
              <a:gd name="connsiteY0" fmla="*/ 4337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32993 w 2843095"/>
              <a:gd name="connsiteY6" fmla="*/ 4337 h 82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3095" h="820799">
                <a:moveTo>
                  <a:pt x="32993" y="4337"/>
                </a:moveTo>
                <a:lnTo>
                  <a:pt x="2600779" y="0"/>
                </a:lnTo>
                <a:lnTo>
                  <a:pt x="2843095" y="410400"/>
                </a:lnTo>
                <a:lnTo>
                  <a:pt x="2600779" y="820799"/>
                </a:lnTo>
                <a:lnTo>
                  <a:pt x="0" y="817637"/>
                </a:lnTo>
                <a:lnTo>
                  <a:pt x="298084" y="422685"/>
                </a:lnTo>
                <a:lnTo>
                  <a:pt x="32993" y="4337"/>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Text Placeholder 2"/>
          <p:cNvSpPr>
            <a:spLocks noGrp="1"/>
          </p:cNvSpPr>
          <p:nvPr>
            <p:ph type="body" idx="27" hasCustomPrompt="1"/>
          </p:nvPr>
        </p:nvSpPr>
        <p:spPr>
          <a:xfrm>
            <a:off x="4267422" y="655199"/>
            <a:ext cx="1658998" cy="628747"/>
          </a:xfrm>
          <a:solidFill>
            <a:srgbClr val="004712"/>
          </a:solidFill>
          <a:ln>
            <a:noFill/>
          </a:ln>
        </p:spPr>
        <p:txBody>
          <a:bodyPr lIns="36000" tIns="46800" rIns="36000" anchor="ctr">
            <a:normAutofit/>
          </a:bodyPr>
          <a:lstStyle>
            <a:lvl1pPr marL="0" indent="0" algn="ctr">
              <a:buNone/>
              <a:defRPr sz="18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B</a:t>
            </a:r>
          </a:p>
        </p:txBody>
      </p:sp>
      <p:sp>
        <p:nvSpPr>
          <p:cNvPr id="43" name="Chevron 42"/>
          <p:cNvSpPr/>
          <p:nvPr userDrawn="1"/>
        </p:nvSpPr>
        <p:spPr>
          <a:xfrm>
            <a:off x="3737095" y="535848"/>
            <a:ext cx="522280" cy="85853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Content Placeholder 3"/>
          <p:cNvSpPr>
            <a:spLocks noGrp="1"/>
          </p:cNvSpPr>
          <p:nvPr>
            <p:ph sz="half" idx="28"/>
          </p:nvPr>
        </p:nvSpPr>
        <p:spPr>
          <a:xfrm>
            <a:off x="4065450" y="1283946"/>
            <a:ext cx="1872000" cy="4692054"/>
          </a:xfrm>
          <a:solidFill>
            <a:srgbClr val="C3DF91"/>
          </a:solidFill>
          <a:ln>
            <a:noFill/>
          </a:ln>
        </p:spPr>
        <p:txBody>
          <a:bodyPr lIns="72000" tIns="108000" rIns="72000" bIns="108000" anchor="t"/>
          <a:lstStyle>
            <a:lvl1pPr marL="185738" indent="-185738">
              <a:tabLst/>
              <a:defRPr sz="1600"/>
            </a:lvl1pPr>
            <a:lvl2pPr marL="360363" indent="-190500">
              <a:tabLst/>
              <a:defRPr sz="1600"/>
            </a:lvl2pPr>
            <a:lvl3pPr marL="533400" indent="-187325">
              <a:buClr>
                <a:srgbClr val="78A22F"/>
              </a:buClr>
              <a:tabLst/>
              <a:defRPr sz="1400"/>
            </a:lvl3pPr>
            <a:lvl4pPr marL="720725" indent="-187325">
              <a:tabLst/>
              <a:defRPr sz="1400"/>
            </a:lvl4pPr>
            <a:lvl5pPr marL="935038" indent="-173038">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hevron 6"/>
          <p:cNvSpPr/>
          <p:nvPr userDrawn="1"/>
        </p:nvSpPr>
        <p:spPr>
          <a:xfrm>
            <a:off x="1842704" y="655200"/>
            <a:ext cx="2177859" cy="628746"/>
          </a:xfrm>
          <a:custGeom>
            <a:avLst/>
            <a:gdLst>
              <a:gd name="connsiteX0" fmla="*/ 0 w 484632"/>
              <a:gd name="connsiteY0" fmla="*/ 0 h 820799"/>
              <a:gd name="connsiteX1" fmla="*/ 242316 w 484632"/>
              <a:gd name="connsiteY1" fmla="*/ 0 h 820799"/>
              <a:gd name="connsiteX2" fmla="*/ 484632 w 484632"/>
              <a:gd name="connsiteY2" fmla="*/ 410400 h 820799"/>
              <a:gd name="connsiteX3" fmla="*/ 242316 w 484632"/>
              <a:gd name="connsiteY3" fmla="*/ 820799 h 820799"/>
              <a:gd name="connsiteX4" fmla="*/ 0 w 484632"/>
              <a:gd name="connsiteY4" fmla="*/ 820799 h 820799"/>
              <a:gd name="connsiteX5" fmla="*/ 242316 w 484632"/>
              <a:gd name="connsiteY5" fmla="*/ 410400 h 820799"/>
              <a:gd name="connsiteX6" fmla="*/ 0 w 484632"/>
              <a:gd name="connsiteY6" fmla="*/ 0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3978294 w 4220610"/>
              <a:gd name="connsiteY5" fmla="*/ 410400 h 820799"/>
              <a:gd name="connsiteX6" fmla="*/ 0 w 4220610"/>
              <a:gd name="connsiteY6" fmla="*/ 13063 h 820799"/>
              <a:gd name="connsiteX0" fmla="*/ 0 w 4220610"/>
              <a:gd name="connsiteY0" fmla="*/ 13063 h 820799"/>
              <a:gd name="connsiteX1" fmla="*/ 3978294 w 4220610"/>
              <a:gd name="connsiteY1" fmla="*/ 0 h 820799"/>
              <a:gd name="connsiteX2" fmla="*/ 4220610 w 4220610"/>
              <a:gd name="connsiteY2" fmla="*/ 410400 h 820799"/>
              <a:gd name="connsiteX3" fmla="*/ 3978294 w 4220610"/>
              <a:gd name="connsiteY3" fmla="*/ 820799 h 820799"/>
              <a:gd name="connsiteX4" fmla="*/ 3735978 w 4220610"/>
              <a:gd name="connsiteY4" fmla="*/ 820799 h 820799"/>
              <a:gd name="connsiteX5" fmla="*/ 255380 w 4220610"/>
              <a:gd name="connsiteY5" fmla="*/ 410400 h 820799"/>
              <a:gd name="connsiteX6" fmla="*/ 0 w 4220610"/>
              <a:gd name="connsiteY6" fmla="*/ 13063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51794 w 4217024"/>
              <a:gd name="connsiteY5" fmla="*/ 41040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30279 w 4217024"/>
              <a:gd name="connsiteY5" fmla="*/ 403228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3985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0 w 4217024"/>
              <a:gd name="connsiteY0" fmla="*/ 2306 h 820799"/>
              <a:gd name="connsiteX1" fmla="*/ 3974708 w 4217024"/>
              <a:gd name="connsiteY1" fmla="*/ 0 h 820799"/>
              <a:gd name="connsiteX2" fmla="*/ 4217024 w 4217024"/>
              <a:gd name="connsiteY2" fmla="*/ 410400 h 820799"/>
              <a:gd name="connsiteX3" fmla="*/ 3974708 w 4217024"/>
              <a:gd name="connsiteY3" fmla="*/ 820799 h 820799"/>
              <a:gd name="connsiteX4" fmla="*/ 3732392 w 4217024"/>
              <a:gd name="connsiteY4" fmla="*/ 820799 h 820799"/>
              <a:gd name="connsiteX5" fmla="*/ 241036 w 4217024"/>
              <a:gd name="connsiteY5" fmla="*/ 410810 h 820799"/>
              <a:gd name="connsiteX6" fmla="*/ 0 w 4217024"/>
              <a:gd name="connsiteY6" fmla="*/ 2306 h 820799"/>
              <a:gd name="connsiteX0" fmla="*/ 835 w 4217859"/>
              <a:gd name="connsiteY0" fmla="*/ 2306 h 827674"/>
              <a:gd name="connsiteX1" fmla="*/ 3975543 w 4217859"/>
              <a:gd name="connsiteY1" fmla="*/ 0 h 827674"/>
              <a:gd name="connsiteX2" fmla="*/ 4217859 w 4217859"/>
              <a:gd name="connsiteY2" fmla="*/ 410400 h 827674"/>
              <a:gd name="connsiteX3" fmla="*/ 3975543 w 4217859"/>
              <a:gd name="connsiteY3" fmla="*/ 820799 h 827674"/>
              <a:gd name="connsiteX4" fmla="*/ 0 w 4217859"/>
              <a:gd name="connsiteY4" fmla="*/ 827674 h 827674"/>
              <a:gd name="connsiteX5" fmla="*/ 241871 w 4217859"/>
              <a:gd name="connsiteY5" fmla="*/ 410810 h 827674"/>
              <a:gd name="connsiteX6" fmla="*/ 835 w 4217859"/>
              <a:gd name="connsiteY6" fmla="*/ 2306 h 827674"/>
              <a:gd name="connsiteX0" fmla="*/ 0 w 4217024"/>
              <a:gd name="connsiteY0" fmla="*/ 2306 h 971190"/>
              <a:gd name="connsiteX1" fmla="*/ 3974708 w 4217024"/>
              <a:gd name="connsiteY1" fmla="*/ 0 h 971190"/>
              <a:gd name="connsiteX2" fmla="*/ 4217024 w 4217024"/>
              <a:gd name="connsiteY2" fmla="*/ 410400 h 971190"/>
              <a:gd name="connsiteX3" fmla="*/ 3974708 w 4217024"/>
              <a:gd name="connsiteY3" fmla="*/ 820799 h 971190"/>
              <a:gd name="connsiteX4" fmla="*/ 85275 w 4217024"/>
              <a:gd name="connsiteY4" fmla="*/ 971190 h 971190"/>
              <a:gd name="connsiteX5" fmla="*/ 241036 w 4217024"/>
              <a:gd name="connsiteY5" fmla="*/ 410810 h 971190"/>
              <a:gd name="connsiteX6" fmla="*/ 0 w 4217024"/>
              <a:gd name="connsiteY6" fmla="*/ 2306 h 971190"/>
              <a:gd name="connsiteX0" fmla="*/ 0 w 4217024"/>
              <a:gd name="connsiteY0" fmla="*/ 2306 h 823574"/>
              <a:gd name="connsiteX1" fmla="*/ 3974708 w 4217024"/>
              <a:gd name="connsiteY1" fmla="*/ 0 h 823574"/>
              <a:gd name="connsiteX2" fmla="*/ 4217024 w 4217024"/>
              <a:gd name="connsiteY2" fmla="*/ 410400 h 823574"/>
              <a:gd name="connsiteX3" fmla="*/ 3974708 w 4217024"/>
              <a:gd name="connsiteY3" fmla="*/ 820799 h 823574"/>
              <a:gd name="connsiteX4" fmla="*/ 3266 w 4217024"/>
              <a:gd name="connsiteY4" fmla="*/ 823574 h 823574"/>
              <a:gd name="connsiteX5" fmla="*/ 241036 w 4217024"/>
              <a:gd name="connsiteY5" fmla="*/ 410810 h 823574"/>
              <a:gd name="connsiteX6" fmla="*/ 0 w 4217024"/>
              <a:gd name="connsiteY6" fmla="*/ 2306 h 823574"/>
              <a:gd name="connsiteX0" fmla="*/ 3609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3609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244645 w 4220633"/>
              <a:gd name="connsiteY5" fmla="*/ 410810 h 823574"/>
              <a:gd name="connsiteX6" fmla="*/ 1191142 w 4220633"/>
              <a:gd name="connsiteY6" fmla="*/ 2306 h 823574"/>
              <a:gd name="connsiteX0" fmla="*/ 1191142 w 4220633"/>
              <a:gd name="connsiteY0" fmla="*/ 2306 h 823574"/>
              <a:gd name="connsiteX1" fmla="*/ 3978317 w 4220633"/>
              <a:gd name="connsiteY1" fmla="*/ 0 h 823574"/>
              <a:gd name="connsiteX2" fmla="*/ 4220633 w 4220633"/>
              <a:gd name="connsiteY2" fmla="*/ 410400 h 823574"/>
              <a:gd name="connsiteX3" fmla="*/ 3978317 w 4220633"/>
              <a:gd name="connsiteY3" fmla="*/ 820799 h 823574"/>
              <a:gd name="connsiteX4" fmla="*/ 0 w 4220633"/>
              <a:gd name="connsiteY4" fmla="*/ 823574 h 823574"/>
              <a:gd name="connsiteX5" fmla="*/ 1675622 w 4220633"/>
              <a:gd name="connsiteY5" fmla="*/ 422685 h 823574"/>
              <a:gd name="connsiteX6" fmla="*/ 1191142 w 4220633"/>
              <a:gd name="connsiteY6" fmla="*/ 2306 h 823574"/>
              <a:gd name="connsiteX0" fmla="*/ 0 w 3029491"/>
              <a:gd name="connsiteY0" fmla="*/ 2306 h 820799"/>
              <a:gd name="connsiteX1" fmla="*/ 2787175 w 3029491"/>
              <a:gd name="connsiteY1" fmla="*/ 0 h 820799"/>
              <a:gd name="connsiteX2" fmla="*/ 3029491 w 3029491"/>
              <a:gd name="connsiteY2" fmla="*/ 410400 h 820799"/>
              <a:gd name="connsiteX3" fmla="*/ 2787175 w 3029491"/>
              <a:gd name="connsiteY3" fmla="*/ 820799 h 820799"/>
              <a:gd name="connsiteX4" fmla="*/ 186396 w 3029491"/>
              <a:gd name="connsiteY4" fmla="*/ 817637 h 820799"/>
              <a:gd name="connsiteX5" fmla="*/ 484480 w 3029491"/>
              <a:gd name="connsiteY5" fmla="*/ 422685 h 820799"/>
              <a:gd name="connsiteX6" fmla="*/ 0 w 3029491"/>
              <a:gd name="connsiteY6" fmla="*/ 2306 h 820799"/>
              <a:gd name="connsiteX0" fmla="*/ 15484 w 2843095"/>
              <a:gd name="connsiteY0" fmla="*/ 103246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15484 w 2843095"/>
              <a:gd name="connsiteY6" fmla="*/ 103246 h 820799"/>
              <a:gd name="connsiteX0" fmla="*/ 9546 w 2843095"/>
              <a:gd name="connsiteY0" fmla="*/ 8244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9546 w 2843095"/>
              <a:gd name="connsiteY6" fmla="*/ 8244 h 820799"/>
              <a:gd name="connsiteX0" fmla="*/ 32993 w 2843095"/>
              <a:gd name="connsiteY0" fmla="*/ 4337 h 820799"/>
              <a:gd name="connsiteX1" fmla="*/ 2600779 w 2843095"/>
              <a:gd name="connsiteY1" fmla="*/ 0 h 820799"/>
              <a:gd name="connsiteX2" fmla="*/ 2843095 w 2843095"/>
              <a:gd name="connsiteY2" fmla="*/ 410400 h 820799"/>
              <a:gd name="connsiteX3" fmla="*/ 2600779 w 2843095"/>
              <a:gd name="connsiteY3" fmla="*/ 820799 h 820799"/>
              <a:gd name="connsiteX4" fmla="*/ 0 w 2843095"/>
              <a:gd name="connsiteY4" fmla="*/ 817637 h 820799"/>
              <a:gd name="connsiteX5" fmla="*/ 298084 w 2843095"/>
              <a:gd name="connsiteY5" fmla="*/ 422685 h 820799"/>
              <a:gd name="connsiteX6" fmla="*/ 32993 w 2843095"/>
              <a:gd name="connsiteY6" fmla="*/ 4337 h 82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3095" h="820799">
                <a:moveTo>
                  <a:pt x="32993" y="4337"/>
                </a:moveTo>
                <a:lnTo>
                  <a:pt x="2600779" y="0"/>
                </a:lnTo>
                <a:lnTo>
                  <a:pt x="2843095" y="410400"/>
                </a:lnTo>
                <a:lnTo>
                  <a:pt x="2600779" y="820799"/>
                </a:lnTo>
                <a:lnTo>
                  <a:pt x="0" y="817637"/>
                </a:lnTo>
                <a:lnTo>
                  <a:pt x="298084" y="422685"/>
                </a:lnTo>
                <a:lnTo>
                  <a:pt x="32993" y="4337"/>
                </a:lnTo>
                <a:close/>
              </a:path>
            </a:pathLst>
          </a:custGeom>
          <a:solidFill>
            <a:srgbClr val="0047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Text Placeholder 2"/>
          <p:cNvSpPr>
            <a:spLocks noGrp="1"/>
          </p:cNvSpPr>
          <p:nvPr>
            <p:ph type="body" idx="20" hasCustomPrompt="1"/>
          </p:nvPr>
        </p:nvSpPr>
        <p:spPr>
          <a:xfrm>
            <a:off x="2172497" y="655199"/>
            <a:ext cx="1658998" cy="628747"/>
          </a:xfrm>
          <a:solidFill>
            <a:srgbClr val="004712"/>
          </a:solidFill>
          <a:ln>
            <a:noFill/>
          </a:ln>
        </p:spPr>
        <p:txBody>
          <a:bodyPr lIns="36000" tIns="46800" rIns="36000" anchor="ctr">
            <a:normAutofit/>
          </a:bodyPr>
          <a:lstStyle>
            <a:lvl1pPr marL="0" indent="0" algn="ctr">
              <a:buNone/>
              <a:defRPr sz="18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A</a:t>
            </a:r>
          </a:p>
        </p:txBody>
      </p:sp>
      <p:sp>
        <p:nvSpPr>
          <p:cNvPr id="22" name="Chevron 21"/>
          <p:cNvSpPr/>
          <p:nvPr userDrawn="1"/>
        </p:nvSpPr>
        <p:spPr>
          <a:xfrm>
            <a:off x="1628723" y="535848"/>
            <a:ext cx="522280" cy="85853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ontent Placeholder 3"/>
          <p:cNvSpPr>
            <a:spLocks noGrp="1"/>
          </p:cNvSpPr>
          <p:nvPr>
            <p:ph sz="half" idx="17"/>
          </p:nvPr>
        </p:nvSpPr>
        <p:spPr>
          <a:xfrm>
            <a:off x="1959495" y="1284603"/>
            <a:ext cx="1872000" cy="4692054"/>
          </a:xfrm>
          <a:solidFill>
            <a:srgbClr val="C3DF91"/>
          </a:solidFill>
          <a:ln>
            <a:noFill/>
          </a:ln>
        </p:spPr>
        <p:txBody>
          <a:bodyPr lIns="72000" tIns="108000" rIns="72000" bIns="108000" anchor="t"/>
          <a:lstStyle>
            <a:lvl1pPr marL="185738" indent="-185738">
              <a:tabLst/>
              <a:defRPr sz="1600"/>
            </a:lvl1pPr>
            <a:lvl2pPr marL="360363" indent="-190500">
              <a:tabLst/>
              <a:defRPr sz="1600"/>
            </a:lvl2pPr>
            <a:lvl3pPr marL="533400" indent="-187325">
              <a:buClr>
                <a:srgbClr val="78A22F"/>
              </a:buClr>
              <a:tabLst/>
              <a:defRPr sz="1400"/>
            </a:lvl3pPr>
            <a:lvl4pPr marL="720725" indent="-187325">
              <a:tabLst/>
              <a:defRPr sz="1400"/>
            </a:lvl4pPr>
            <a:lvl5pPr marL="935038" indent="-173038">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68570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2511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501" imgH="502" progId="TCLayout.ActiveDocument.1">
                  <p:embed/>
                </p:oleObj>
              </mc:Choice>
              <mc:Fallback>
                <p:oleObj name="think-cell Slide" r:id="rId4" imgW="501" imgH="502"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hasCustomPrompt="1"/>
          </p:nvPr>
        </p:nvSpPr>
        <p:spPr>
          <a:xfrm>
            <a:off x="1800000" y="828000"/>
            <a:ext cx="8496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
        <p:nvSpPr>
          <p:cNvPr id="4" name="Content Placeholder 3"/>
          <p:cNvSpPr>
            <a:spLocks noGrp="1"/>
          </p:cNvSpPr>
          <p:nvPr>
            <p:ph sz="half" idx="2"/>
          </p:nvPr>
        </p:nvSpPr>
        <p:spPr>
          <a:xfrm>
            <a:off x="1800000" y="2087999"/>
            <a:ext cx="8496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Tree>
    <p:extLst>
      <p:ext uri="{BB962C8B-B14F-4D97-AF65-F5344CB8AC3E}">
        <p14:creationId xmlns:p14="http://schemas.microsoft.com/office/powerpoint/2010/main" val="4177259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3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00000" y="828000"/>
            <a:ext cx="3960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
        <p:nvSpPr>
          <p:cNvPr id="4" name="Content Placeholder 3"/>
          <p:cNvSpPr>
            <a:spLocks noGrp="1"/>
          </p:cNvSpPr>
          <p:nvPr>
            <p:ph sz="half" idx="2"/>
          </p:nvPr>
        </p:nvSpPr>
        <p:spPr>
          <a:xfrm>
            <a:off x="1800000" y="2087999"/>
            <a:ext cx="3960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2" name="Content Placeholder 5"/>
          <p:cNvSpPr>
            <a:spLocks noGrp="1"/>
          </p:cNvSpPr>
          <p:nvPr>
            <p:ph sz="quarter" idx="13"/>
          </p:nvPr>
        </p:nvSpPr>
        <p:spPr>
          <a:xfrm>
            <a:off x="6336000" y="2087999"/>
            <a:ext cx="3960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p:cNvSpPr>
            <a:spLocks noGrp="1"/>
          </p:cNvSpPr>
          <p:nvPr>
            <p:ph type="body" sz="quarter" idx="14" hasCustomPrompt="1"/>
          </p:nvPr>
        </p:nvSpPr>
        <p:spPr>
          <a:xfrm>
            <a:off x="6336000" y="828000"/>
            <a:ext cx="3960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Tree>
    <p:extLst>
      <p:ext uri="{BB962C8B-B14F-4D97-AF65-F5344CB8AC3E}">
        <p14:creationId xmlns:p14="http://schemas.microsoft.com/office/powerpoint/2010/main" val="14607877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00000" y="828000"/>
            <a:ext cx="2592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
        <p:nvSpPr>
          <p:cNvPr id="4" name="Content Placeholder 3"/>
          <p:cNvSpPr>
            <a:spLocks noGrp="1"/>
          </p:cNvSpPr>
          <p:nvPr>
            <p:ph sz="half" idx="2"/>
          </p:nvPr>
        </p:nvSpPr>
        <p:spPr>
          <a:xfrm>
            <a:off x="1800000" y="2088000"/>
            <a:ext cx="2592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752000" y="828000"/>
            <a:ext cx="2592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
        <p:nvSpPr>
          <p:cNvPr id="6" name="Content Placeholder 5"/>
          <p:cNvSpPr>
            <a:spLocks noGrp="1"/>
          </p:cNvSpPr>
          <p:nvPr>
            <p:ph sz="quarter" idx="4"/>
          </p:nvPr>
        </p:nvSpPr>
        <p:spPr>
          <a:xfrm>
            <a:off x="4752000" y="2088000"/>
            <a:ext cx="2592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lIns="0" tIns="46800" rIns="0"/>
          <a:lstStyle/>
          <a:p>
            <a:endParaRPr lang="en-US"/>
          </a:p>
        </p:txBody>
      </p:sp>
      <p:sp>
        <p:nvSpPr>
          <p:cNvPr id="9" name="Slide Number Placeholder 8"/>
          <p:cNvSpPr>
            <a:spLocks noGrp="1"/>
          </p:cNvSpPr>
          <p:nvPr>
            <p:ph type="sldNum" sz="quarter" idx="12"/>
          </p:nvPr>
        </p:nvSpPr>
        <p:spPr/>
        <p:txBody>
          <a:bodyPr lIns="0" tIns="46800" rIns="0"/>
          <a:lstStyle/>
          <a:p>
            <a:fld id="{3B70454A-8E27-4F45-B6EF-6D568230227A}" type="slidenum">
              <a:rPr lang="en-US" smtClean="0"/>
              <a:t>‹#›</a:t>
            </a:fld>
            <a:endParaRPr lang="en-US"/>
          </a:p>
        </p:txBody>
      </p:sp>
      <p:sp>
        <p:nvSpPr>
          <p:cNvPr id="12" name="Content Placeholder 5"/>
          <p:cNvSpPr>
            <a:spLocks noGrp="1"/>
          </p:cNvSpPr>
          <p:nvPr>
            <p:ph sz="quarter" idx="13"/>
          </p:nvPr>
        </p:nvSpPr>
        <p:spPr>
          <a:xfrm>
            <a:off x="7704000" y="2088000"/>
            <a:ext cx="2592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p:cNvSpPr>
            <a:spLocks noGrp="1"/>
          </p:cNvSpPr>
          <p:nvPr>
            <p:ph type="body" sz="quarter" idx="14" hasCustomPrompt="1"/>
          </p:nvPr>
        </p:nvSpPr>
        <p:spPr>
          <a:xfrm>
            <a:off x="7704000" y="828000"/>
            <a:ext cx="2592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Tree>
    <p:extLst>
      <p:ext uri="{BB962C8B-B14F-4D97-AF65-F5344CB8AC3E}">
        <p14:creationId xmlns:p14="http://schemas.microsoft.com/office/powerpoint/2010/main" val="9970228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00000" y="828000"/>
            <a:ext cx="1872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
        <p:nvSpPr>
          <p:cNvPr id="4" name="Content Placeholder 3"/>
          <p:cNvSpPr>
            <a:spLocks noGrp="1"/>
          </p:cNvSpPr>
          <p:nvPr>
            <p:ph sz="half" idx="2"/>
          </p:nvPr>
        </p:nvSpPr>
        <p:spPr>
          <a:xfrm>
            <a:off x="1800000" y="2088000"/>
            <a:ext cx="1872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008000" y="828000"/>
            <a:ext cx="1872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
        <p:nvSpPr>
          <p:cNvPr id="6" name="Content Placeholder 5"/>
          <p:cNvSpPr>
            <a:spLocks noGrp="1"/>
          </p:cNvSpPr>
          <p:nvPr>
            <p:ph sz="quarter" idx="4"/>
          </p:nvPr>
        </p:nvSpPr>
        <p:spPr>
          <a:xfrm>
            <a:off x="4008000" y="2088000"/>
            <a:ext cx="1872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B70454A-8E27-4F45-B6EF-6D568230227A}" type="slidenum">
              <a:rPr lang="en-US" smtClean="0"/>
              <a:t>‹#›</a:t>
            </a:fld>
            <a:endParaRPr lang="en-US"/>
          </a:p>
        </p:txBody>
      </p:sp>
      <p:sp>
        <p:nvSpPr>
          <p:cNvPr id="12" name="Content Placeholder 5"/>
          <p:cNvSpPr>
            <a:spLocks noGrp="1"/>
          </p:cNvSpPr>
          <p:nvPr>
            <p:ph sz="quarter" idx="13"/>
          </p:nvPr>
        </p:nvSpPr>
        <p:spPr>
          <a:xfrm>
            <a:off x="6216000" y="2088000"/>
            <a:ext cx="1872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p:cNvSpPr>
            <a:spLocks noGrp="1"/>
          </p:cNvSpPr>
          <p:nvPr>
            <p:ph type="body" sz="quarter" idx="14" hasCustomPrompt="1"/>
          </p:nvPr>
        </p:nvSpPr>
        <p:spPr>
          <a:xfrm>
            <a:off x="6216000" y="828000"/>
            <a:ext cx="1872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
        <p:nvSpPr>
          <p:cNvPr id="15" name="Content Placeholder 5"/>
          <p:cNvSpPr>
            <a:spLocks noGrp="1"/>
          </p:cNvSpPr>
          <p:nvPr>
            <p:ph sz="quarter" idx="15"/>
          </p:nvPr>
        </p:nvSpPr>
        <p:spPr>
          <a:xfrm>
            <a:off x="8424000" y="2088000"/>
            <a:ext cx="1872000" cy="3780000"/>
          </a:xfrm>
        </p:spPr>
        <p:txBody>
          <a:bodyPr lIns="0" tIns="4680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4"/>
          <p:cNvSpPr>
            <a:spLocks noGrp="1"/>
          </p:cNvSpPr>
          <p:nvPr>
            <p:ph type="body" sz="quarter" idx="16" hasCustomPrompt="1"/>
          </p:nvPr>
        </p:nvSpPr>
        <p:spPr>
          <a:xfrm>
            <a:off x="8424000" y="828000"/>
            <a:ext cx="1872000" cy="720000"/>
          </a:xfrm>
        </p:spPr>
        <p:txBody>
          <a:bodyPr lIns="0" tIns="46800" rIns="0" anchor="b"/>
          <a:lstStyle>
            <a:lvl1pPr marL="0" indent="0" algn="ctr">
              <a:buNone/>
              <a:defRPr sz="2400" b="1" i="0">
                <a:solidFill>
                  <a:srgbClr val="004712"/>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header</a:t>
            </a:r>
          </a:p>
        </p:txBody>
      </p:sp>
    </p:spTree>
    <p:extLst>
      <p:ext uri="{BB962C8B-B14F-4D97-AF65-F5344CB8AC3E}">
        <p14:creationId xmlns:p14="http://schemas.microsoft.com/office/powerpoint/2010/main" val="3594609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00000" y="655200"/>
            <a:ext cx="2377645" cy="2520000"/>
          </a:xfrm>
          <a:solidFill>
            <a:srgbClr val="004712"/>
          </a:solidFill>
          <a:ln>
            <a:noFill/>
          </a:ln>
        </p:spPr>
        <p:txBody>
          <a:bodyPr lIns="0" tIns="46800" rIns="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x A</a:t>
            </a:r>
          </a:p>
        </p:txBody>
      </p:sp>
      <p:sp>
        <p:nvSpPr>
          <p:cNvPr id="4" name="Content Placeholder 3"/>
          <p:cNvSpPr>
            <a:spLocks noGrp="1"/>
          </p:cNvSpPr>
          <p:nvPr>
            <p:ph sz="half" idx="2"/>
          </p:nvPr>
        </p:nvSpPr>
        <p:spPr>
          <a:xfrm>
            <a:off x="4177644" y="655200"/>
            <a:ext cx="6120000" cy="2520000"/>
          </a:xfrm>
          <a:solidFill>
            <a:srgbClr val="C3DF91"/>
          </a:solidFill>
          <a:ln>
            <a:noFill/>
          </a:ln>
        </p:spPr>
        <p:txBody>
          <a:bodyPr lIns="180000" tIns="180000" rIns="180000" bIns="180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2" name="Content Placeholder 5"/>
          <p:cNvSpPr>
            <a:spLocks noGrp="1"/>
          </p:cNvSpPr>
          <p:nvPr>
            <p:ph sz="quarter" idx="13"/>
          </p:nvPr>
        </p:nvSpPr>
        <p:spPr>
          <a:xfrm>
            <a:off x="4177644" y="3455432"/>
            <a:ext cx="6120000" cy="2520000"/>
          </a:xfrm>
          <a:solidFill>
            <a:srgbClr val="C3DF91"/>
          </a:solidFill>
          <a:ln>
            <a:noFill/>
          </a:ln>
        </p:spPr>
        <p:txBody>
          <a:bodyPr lIns="180000" tIns="180000" rIns="180000" bIns="180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p:cNvSpPr>
            <a:spLocks noGrp="1"/>
          </p:cNvSpPr>
          <p:nvPr>
            <p:ph type="body" sz="quarter" idx="14" hasCustomPrompt="1"/>
          </p:nvPr>
        </p:nvSpPr>
        <p:spPr>
          <a:xfrm>
            <a:off x="1800000" y="3455432"/>
            <a:ext cx="2377644" cy="2520000"/>
          </a:xfrm>
          <a:solidFill>
            <a:srgbClr val="004712"/>
          </a:solidFill>
          <a:ln>
            <a:noFill/>
          </a:ln>
        </p:spPr>
        <p:txBody>
          <a:bodyPr lIns="0" tIns="46800" rIns="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x B</a:t>
            </a:r>
          </a:p>
        </p:txBody>
      </p:sp>
    </p:spTree>
    <p:extLst>
      <p:ext uri="{BB962C8B-B14F-4D97-AF65-F5344CB8AC3E}">
        <p14:creationId xmlns:p14="http://schemas.microsoft.com/office/powerpoint/2010/main" val="450716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00000" y="655200"/>
            <a:ext cx="2377645" cy="1620000"/>
          </a:xfrm>
          <a:solidFill>
            <a:srgbClr val="004712"/>
          </a:solidFill>
          <a:ln>
            <a:noFill/>
          </a:ln>
        </p:spPr>
        <p:txBody>
          <a:bodyPr lIns="0" tIns="46800" rIns="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x A</a:t>
            </a:r>
          </a:p>
        </p:txBody>
      </p:sp>
      <p:sp>
        <p:nvSpPr>
          <p:cNvPr id="4" name="Content Placeholder 3"/>
          <p:cNvSpPr>
            <a:spLocks noGrp="1"/>
          </p:cNvSpPr>
          <p:nvPr>
            <p:ph sz="half" idx="2"/>
          </p:nvPr>
        </p:nvSpPr>
        <p:spPr>
          <a:xfrm>
            <a:off x="4177644" y="655200"/>
            <a:ext cx="6120000" cy="1620000"/>
          </a:xfrm>
          <a:solidFill>
            <a:srgbClr val="C3DF91"/>
          </a:solidFill>
          <a:ln>
            <a:noFill/>
          </a:ln>
        </p:spPr>
        <p:txBody>
          <a:bodyPr lIns="180000" tIns="180000" rIns="180000" bIns="180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2" name="Content Placeholder 5"/>
          <p:cNvSpPr>
            <a:spLocks noGrp="1"/>
          </p:cNvSpPr>
          <p:nvPr>
            <p:ph sz="quarter" idx="13"/>
          </p:nvPr>
        </p:nvSpPr>
        <p:spPr>
          <a:xfrm>
            <a:off x="4177644" y="2509698"/>
            <a:ext cx="6120000" cy="1620000"/>
          </a:xfrm>
          <a:solidFill>
            <a:srgbClr val="C3DF91"/>
          </a:solidFill>
          <a:ln>
            <a:noFill/>
          </a:ln>
        </p:spPr>
        <p:txBody>
          <a:bodyPr lIns="180000" tIns="180000" rIns="180000" bIns="180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p:cNvSpPr>
            <a:spLocks noGrp="1"/>
          </p:cNvSpPr>
          <p:nvPr>
            <p:ph type="body" sz="quarter" idx="14" hasCustomPrompt="1"/>
          </p:nvPr>
        </p:nvSpPr>
        <p:spPr>
          <a:xfrm>
            <a:off x="1800000" y="2509698"/>
            <a:ext cx="2377644" cy="1620000"/>
          </a:xfrm>
          <a:solidFill>
            <a:srgbClr val="004712"/>
          </a:solidFill>
          <a:ln>
            <a:noFill/>
          </a:ln>
        </p:spPr>
        <p:txBody>
          <a:bodyPr lIns="0" tIns="46800" rIns="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x B</a:t>
            </a:r>
          </a:p>
        </p:txBody>
      </p:sp>
      <p:sp>
        <p:nvSpPr>
          <p:cNvPr id="10" name="Content Placeholder 5"/>
          <p:cNvSpPr>
            <a:spLocks noGrp="1"/>
          </p:cNvSpPr>
          <p:nvPr>
            <p:ph sz="quarter" idx="15"/>
          </p:nvPr>
        </p:nvSpPr>
        <p:spPr>
          <a:xfrm>
            <a:off x="4177644" y="4364196"/>
            <a:ext cx="6120000" cy="1620000"/>
          </a:xfrm>
          <a:solidFill>
            <a:srgbClr val="C3DF91"/>
          </a:solidFill>
          <a:ln>
            <a:noFill/>
          </a:ln>
        </p:spPr>
        <p:txBody>
          <a:bodyPr lIns="180000" tIns="180000" rIns="180000" bIns="180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6" hasCustomPrompt="1"/>
          </p:nvPr>
        </p:nvSpPr>
        <p:spPr>
          <a:xfrm>
            <a:off x="1800000" y="4364196"/>
            <a:ext cx="2377644" cy="1620000"/>
          </a:xfrm>
          <a:solidFill>
            <a:srgbClr val="004712"/>
          </a:solidFill>
          <a:ln>
            <a:noFill/>
          </a:ln>
        </p:spPr>
        <p:txBody>
          <a:bodyPr lIns="0" tIns="46800" rIns="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x C</a:t>
            </a:r>
          </a:p>
        </p:txBody>
      </p:sp>
    </p:spTree>
    <p:extLst>
      <p:ext uri="{BB962C8B-B14F-4D97-AF65-F5344CB8AC3E}">
        <p14:creationId xmlns:p14="http://schemas.microsoft.com/office/powerpoint/2010/main" val="1001237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00001" y="655200"/>
            <a:ext cx="1080000" cy="25200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x A</a:t>
            </a:r>
          </a:p>
        </p:txBody>
      </p:sp>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3" name="Content Placeholder 3"/>
          <p:cNvSpPr>
            <a:spLocks noGrp="1"/>
          </p:cNvSpPr>
          <p:nvPr>
            <p:ph sz="half" idx="13"/>
          </p:nvPr>
        </p:nvSpPr>
        <p:spPr>
          <a:xfrm>
            <a:off x="2880001" y="655200"/>
            <a:ext cx="2880000" cy="2520000"/>
          </a:xfrm>
          <a:solidFill>
            <a:srgbClr val="C3DF91"/>
          </a:solidFill>
          <a:ln>
            <a:noFill/>
          </a:ln>
        </p:spPr>
        <p:txBody>
          <a:bodyPr lIns="108000" tIns="108000" rIns="108000" bIns="108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2"/>
          <p:cNvSpPr>
            <a:spLocks noGrp="1"/>
          </p:cNvSpPr>
          <p:nvPr>
            <p:ph type="body" idx="14" hasCustomPrompt="1"/>
          </p:nvPr>
        </p:nvSpPr>
        <p:spPr>
          <a:xfrm>
            <a:off x="6336000" y="655200"/>
            <a:ext cx="1080000" cy="25200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x A</a:t>
            </a:r>
          </a:p>
        </p:txBody>
      </p:sp>
      <p:sp>
        <p:nvSpPr>
          <p:cNvPr id="16" name="Content Placeholder 3"/>
          <p:cNvSpPr>
            <a:spLocks noGrp="1"/>
          </p:cNvSpPr>
          <p:nvPr>
            <p:ph sz="half" idx="15"/>
          </p:nvPr>
        </p:nvSpPr>
        <p:spPr>
          <a:xfrm>
            <a:off x="7416000" y="655200"/>
            <a:ext cx="2880000" cy="2520000"/>
          </a:xfrm>
          <a:solidFill>
            <a:srgbClr val="C3DF91"/>
          </a:solidFill>
          <a:ln>
            <a:noFill/>
          </a:ln>
        </p:spPr>
        <p:txBody>
          <a:bodyPr lIns="108000" tIns="108000" rIns="108000" bIns="108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p:cNvSpPr>
            <a:spLocks noGrp="1"/>
          </p:cNvSpPr>
          <p:nvPr>
            <p:ph type="body" idx="16" hasCustomPrompt="1"/>
          </p:nvPr>
        </p:nvSpPr>
        <p:spPr>
          <a:xfrm>
            <a:off x="1800001" y="3456000"/>
            <a:ext cx="1080000" cy="25200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x B</a:t>
            </a:r>
          </a:p>
        </p:txBody>
      </p:sp>
      <p:sp>
        <p:nvSpPr>
          <p:cNvPr id="18" name="Content Placeholder 3"/>
          <p:cNvSpPr>
            <a:spLocks noGrp="1"/>
          </p:cNvSpPr>
          <p:nvPr>
            <p:ph sz="half" idx="17"/>
          </p:nvPr>
        </p:nvSpPr>
        <p:spPr>
          <a:xfrm>
            <a:off x="2880001" y="3456000"/>
            <a:ext cx="2880000" cy="2520000"/>
          </a:xfrm>
          <a:solidFill>
            <a:srgbClr val="C3DF91"/>
          </a:solidFill>
          <a:ln>
            <a:noFill/>
          </a:ln>
        </p:spPr>
        <p:txBody>
          <a:bodyPr lIns="108000" tIns="108000" rIns="108000" bIns="108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p:cNvSpPr>
            <a:spLocks noGrp="1"/>
          </p:cNvSpPr>
          <p:nvPr>
            <p:ph type="body" idx="18" hasCustomPrompt="1"/>
          </p:nvPr>
        </p:nvSpPr>
        <p:spPr>
          <a:xfrm>
            <a:off x="6336000" y="3456000"/>
            <a:ext cx="1080000" cy="25200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Box B</a:t>
            </a:r>
          </a:p>
        </p:txBody>
      </p:sp>
      <p:sp>
        <p:nvSpPr>
          <p:cNvPr id="20" name="Content Placeholder 3"/>
          <p:cNvSpPr>
            <a:spLocks noGrp="1"/>
          </p:cNvSpPr>
          <p:nvPr>
            <p:ph sz="half" idx="19"/>
          </p:nvPr>
        </p:nvSpPr>
        <p:spPr>
          <a:xfrm>
            <a:off x="7416000" y="3456000"/>
            <a:ext cx="2880000" cy="2520000"/>
          </a:xfrm>
          <a:solidFill>
            <a:srgbClr val="C3DF91"/>
          </a:solidFill>
          <a:ln>
            <a:noFill/>
          </a:ln>
        </p:spPr>
        <p:txBody>
          <a:bodyPr lIns="108000" tIns="108000" rIns="108000" bIns="108000" anchor="ctr"/>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74587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Comparis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55715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359" imgH="355" progId="TCLayout.ActiveDocument.1">
                  <p:embed/>
                </p:oleObj>
              </mc:Choice>
              <mc:Fallback>
                <p:oleObj name="think-cell Slide" r:id="rId4" imgW="359"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hasCustomPrompt="1"/>
          </p:nvPr>
        </p:nvSpPr>
        <p:spPr>
          <a:xfrm>
            <a:off x="1800001" y="655200"/>
            <a:ext cx="3960000" cy="820800"/>
          </a:xfrm>
          <a:solidFill>
            <a:srgbClr val="004712"/>
          </a:solidFill>
          <a:ln>
            <a:noFill/>
          </a:ln>
        </p:spPr>
        <p:txBody>
          <a:bodyPr lIns="36000" tIns="46800" rIns="36000" anchor="ctr"/>
          <a:lstStyle>
            <a:lvl1pPr marL="0" indent="0" algn="ctr">
              <a:buNone/>
              <a:defRPr sz="2400" b="1" i="0" baseline="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A</a:t>
            </a:r>
          </a:p>
        </p:txBody>
      </p:sp>
      <p:sp>
        <p:nvSpPr>
          <p:cNvPr id="8" name="Footer Placeholder 7"/>
          <p:cNvSpPr>
            <a:spLocks noGrp="1"/>
          </p:cNvSpPr>
          <p:nvPr>
            <p:ph type="ftr" sz="quarter" idx="11"/>
          </p:nvPr>
        </p:nvSpPr>
        <p:spPr/>
        <p:txBody>
          <a:bodyPr tIns="46800"/>
          <a:lstStyle/>
          <a:p>
            <a:endParaRPr lang="en-US"/>
          </a:p>
        </p:txBody>
      </p:sp>
      <p:sp>
        <p:nvSpPr>
          <p:cNvPr id="9" name="Slide Number Placeholder 8"/>
          <p:cNvSpPr>
            <a:spLocks noGrp="1"/>
          </p:cNvSpPr>
          <p:nvPr>
            <p:ph type="sldNum" sz="quarter" idx="12"/>
          </p:nvPr>
        </p:nvSpPr>
        <p:spPr/>
        <p:txBody>
          <a:bodyPr tIns="46800"/>
          <a:lstStyle/>
          <a:p>
            <a:fld id="{3B70454A-8E27-4F45-B6EF-6D568230227A}" type="slidenum">
              <a:rPr lang="en-US" smtClean="0"/>
              <a:t>‹#›</a:t>
            </a:fld>
            <a:endParaRPr lang="en-US"/>
          </a:p>
        </p:txBody>
      </p:sp>
      <p:sp>
        <p:nvSpPr>
          <p:cNvPr id="15" name="Text Placeholder 2"/>
          <p:cNvSpPr>
            <a:spLocks noGrp="1"/>
          </p:cNvSpPr>
          <p:nvPr>
            <p:ph type="body" idx="14" hasCustomPrompt="1"/>
          </p:nvPr>
        </p:nvSpPr>
        <p:spPr>
          <a:xfrm>
            <a:off x="6335999" y="655200"/>
            <a:ext cx="3960001" cy="820800"/>
          </a:xfrm>
          <a:solidFill>
            <a:srgbClr val="004712"/>
          </a:solidFill>
          <a:ln>
            <a:noFill/>
          </a:ln>
        </p:spPr>
        <p:txBody>
          <a:bodyPr lIns="36000" tIns="46800" rIns="36000" anchor="ctr"/>
          <a:lstStyle>
            <a:lvl1pPr marL="0" indent="0" algn="ctr">
              <a:buNone/>
              <a:defRPr sz="2400" b="1" i="0">
                <a:solidFill>
                  <a:schemeClr val="bg1"/>
                </a:solidFill>
                <a:latin typeface="+mn-lt"/>
                <a:ea typeface="TheSans B7" charset="0"/>
                <a:cs typeface="TheSans B7"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er B</a:t>
            </a:r>
          </a:p>
        </p:txBody>
      </p:sp>
      <p:sp>
        <p:nvSpPr>
          <p:cNvPr id="18" name="Content Placeholder 3"/>
          <p:cNvSpPr>
            <a:spLocks noGrp="1"/>
          </p:cNvSpPr>
          <p:nvPr>
            <p:ph sz="half" idx="17"/>
          </p:nvPr>
        </p:nvSpPr>
        <p:spPr>
          <a:xfrm>
            <a:off x="1800001" y="1476000"/>
            <a:ext cx="3960000" cy="4500000"/>
          </a:xfrm>
          <a:solidFill>
            <a:srgbClr val="C3DF91"/>
          </a:solidFill>
          <a:ln>
            <a:noFill/>
          </a:ln>
        </p:spPr>
        <p:txBody>
          <a:bodyPr lIns="180000" tIns="180000" rIns="180000" bIns="180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half" idx="19"/>
          </p:nvPr>
        </p:nvSpPr>
        <p:spPr>
          <a:xfrm>
            <a:off x="6336000" y="1476000"/>
            <a:ext cx="3960000" cy="4500000"/>
          </a:xfrm>
          <a:solidFill>
            <a:srgbClr val="C3DF91"/>
          </a:solidFill>
          <a:ln>
            <a:noFill/>
          </a:ln>
        </p:spPr>
        <p:txBody>
          <a:bodyPr lIns="180000" tIns="180000" rIns="180000" bIns="180000" anchor="t"/>
          <a:lstStyle>
            <a:lvl3pPr>
              <a:buClr>
                <a:srgbClr val="78A22F"/>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45989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1905036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8" imgW="501" imgH="502" progId="TCLayout.ActiveDocument.1">
                  <p:embed/>
                </p:oleObj>
              </mc:Choice>
              <mc:Fallback>
                <p:oleObj name="think-cell Slide" r:id="rId18" imgW="501" imgH="502" progId="TCLayout.ActiveDocument.1">
                  <p:embed/>
                  <p:pic>
                    <p:nvPicPr>
                      <p:cNvPr id="4" name="Object 3"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rotWithShape="1">
          <a:blip r:embed="rId20">
            <a:extLst>
              <a:ext uri="{28A0092B-C50C-407E-A947-70E740481C1C}">
                <a14:useLocalDpi xmlns:a14="http://schemas.microsoft.com/office/drawing/2010/main" val="0"/>
              </a:ext>
            </a:extLst>
          </a:blip>
          <a:srcRect t="17794"/>
          <a:stretch/>
        </p:blipFill>
        <p:spPr>
          <a:xfrm>
            <a:off x="0" y="6525344"/>
            <a:ext cx="12192000" cy="332656"/>
          </a:xfrm>
          <a:prstGeom prst="rect">
            <a:avLst/>
          </a:prstGeom>
        </p:spPr>
      </p:pic>
      <p:pic>
        <p:nvPicPr>
          <p:cNvPr id="8" name="Picture 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488488" y="188640"/>
            <a:ext cx="1487427" cy="1752604"/>
          </a:xfrm>
          <a:prstGeom prst="rect">
            <a:avLst/>
          </a:prstGeom>
        </p:spPr>
      </p:pic>
      <p:sp>
        <p:nvSpPr>
          <p:cNvPr id="5" name="Footer Placeholder 4"/>
          <p:cNvSpPr>
            <a:spLocks noGrp="1"/>
          </p:cNvSpPr>
          <p:nvPr>
            <p:ph type="ftr" sz="quarter" idx="3"/>
          </p:nvPr>
        </p:nvSpPr>
        <p:spPr>
          <a:xfrm>
            <a:off x="838200" y="6525344"/>
            <a:ext cx="4114800" cy="332656"/>
          </a:xfrm>
          <a:prstGeom prst="rect">
            <a:avLst/>
          </a:prstGeom>
        </p:spPr>
        <p:txBody>
          <a:bodyPr vert="horz" lIns="91440" tIns="45720" rIns="91440" bIns="45720" rtlCol="0" anchor="ctr"/>
          <a:lstStyle>
            <a:lvl1pPr algn="l">
              <a:defRPr sz="1000" b="0" i="0">
                <a:solidFill>
                  <a:schemeClr val="bg1"/>
                </a:solidFill>
                <a:latin typeface="+mn-lt"/>
                <a:ea typeface="TheSans B5 Plain" charset="0"/>
                <a:cs typeface="TheSans B5 Plain" charset="0"/>
              </a:defRPr>
            </a:lvl1pPr>
          </a:lstStyle>
          <a:p>
            <a:endParaRPr lang="en-US" dirty="0"/>
          </a:p>
        </p:txBody>
      </p:sp>
      <p:sp>
        <p:nvSpPr>
          <p:cNvPr id="6" name="Slide Number Placeholder 5"/>
          <p:cNvSpPr>
            <a:spLocks noGrp="1"/>
          </p:cNvSpPr>
          <p:nvPr>
            <p:ph type="sldNum" sz="quarter" idx="4"/>
          </p:nvPr>
        </p:nvSpPr>
        <p:spPr>
          <a:xfrm>
            <a:off x="9116888" y="6525344"/>
            <a:ext cx="2743200" cy="332656"/>
          </a:xfrm>
          <a:prstGeom prst="rect">
            <a:avLst/>
          </a:prstGeom>
        </p:spPr>
        <p:txBody>
          <a:bodyPr vert="horz" lIns="91440" tIns="45720" rIns="91440" bIns="45720" rtlCol="0" anchor="ctr"/>
          <a:lstStyle>
            <a:lvl1pPr algn="r">
              <a:defRPr sz="1000">
                <a:solidFill>
                  <a:schemeClr val="bg1"/>
                </a:solidFill>
                <a:latin typeface="TheSans B5 Plain" charset="0"/>
                <a:ea typeface="TheSans B5 Plain" charset="0"/>
                <a:cs typeface="TheSans B5 Plain" charset="0"/>
              </a:defRPr>
            </a:lvl1pPr>
          </a:lstStyle>
          <a:p>
            <a:fld id="{3B70454A-8E27-4F45-B6EF-6D568230227A}" type="slidenum">
              <a:rPr lang="en-US" smtClean="0"/>
              <a:pPr/>
              <a:t>‹#›</a:t>
            </a:fld>
            <a:endParaRPr lang="en-US" dirty="0"/>
          </a:p>
        </p:txBody>
      </p:sp>
    </p:spTree>
    <p:extLst>
      <p:ext uri="{BB962C8B-B14F-4D97-AF65-F5344CB8AC3E}">
        <p14:creationId xmlns:p14="http://schemas.microsoft.com/office/powerpoint/2010/main" val="360836433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Lst>
  <p:hf hdr="0" ftr="0" dt="0"/>
  <p:txStyles>
    <p:titleStyle>
      <a:lvl1pPr algn="l" defTabSz="914400" rtl="0" eaLnBrk="1" latinLnBrk="0" hangingPunct="1">
        <a:lnSpc>
          <a:spcPct val="90000"/>
        </a:lnSpc>
        <a:spcBef>
          <a:spcPct val="0"/>
        </a:spcBef>
        <a:buNone/>
        <a:defRPr sz="2400" b="1" i="0" kern="1200">
          <a:solidFill>
            <a:srgbClr val="004712"/>
          </a:solidFill>
          <a:latin typeface="+mn-lt"/>
          <a:ea typeface="TheSans B7" charset="0"/>
          <a:cs typeface="TheSans B7" charset="0"/>
        </a:defRPr>
      </a:lvl1pPr>
    </p:titleStyle>
    <p:bodyStyle>
      <a:lvl1pPr marL="231775" indent="-231775" algn="l" defTabSz="914400" rtl="0" eaLnBrk="1" latinLnBrk="0" hangingPunct="1">
        <a:lnSpc>
          <a:spcPct val="90000"/>
        </a:lnSpc>
        <a:spcBef>
          <a:spcPts val="1000"/>
        </a:spcBef>
        <a:buClr>
          <a:srgbClr val="004712"/>
        </a:buClr>
        <a:buFont typeface="Arial" charset="0"/>
        <a:buChar char="•"/>
        <a:tabLst/>
        <a:defRPr sz="2000" b="0" i="0" kern="1200">
          <a:solidFill>
            <a:schemeClr val="tx1"/>
          </a:solidFill>
          <a:latin typeface="+mn-lt"/>
          <a:ea typeface="TheSans B5 Plain" charset="0"/>
          <a:cs typeface="TheSans B5 Plain" charset="0"/>
        </a:defRPr>
      </a:lvl1pPr>
      <a:lvl2pPr marL="404813" indent="-234950" algn="l" defTabSz="914400" rtl="0" eaLnBrk="1" latinLnBrk="0" hangingPunct="1">
        <a:lnSpc>
          <a:spcPct val="90000"/>
        </a:lnSpc>
        <a:spcBef>
          <a:spcPts val="500"/>
        </a:spcBef>
        <a:buClr>
          <a:srgbClr val="78A22F"/>
        </a:buClr>
        <a:buFont typeface="Arial"/>
        <a:buChar char="•"/>
        <a:tabLst/>
        <a:defRPr sz="2000" b="0" i="0" kern="1200">
          <a:solidFill>
            <a:schemeClr val="tx1"/>
          </a:solidFill>
          <a:latin typeface="+mn-lt"/>
          <a:ea typeface="TheSans B5 Plain" charset="0"/>
          <a:cs typeface="TheSans B5 Plain" charset="0"/>
        </a:defRPr>
      </a:lvl2pPr>
      <a:lvl3pPr marL="671513" indent="-234950" algn="l" defTabSz="914400" rtl="0" eaLnBrk="1" latinLnBrk="0" hangingPunct="1">
        <a:lnSpc>
          <a:spcPct val="90000"/>
        </a:lnSpc>
        <a:spcBef>
          <a:spcPts val="500"/>
        </a:spcBef>
        <a:buClr>
          <a:srgbClr val="C3DF91"/>
        </a:buClr>
        <a:buFont typeface="Arial"/>
        <a:buChar char="•"/>
        <a:tabLst/>
        <a:defRPr sz="1800" b="0" i="0" kern="1200">
          <a:solidFill>
            <a:schemeClr val="tx1"/>
          </a:solidFill>
          <a:latin typeface="+mn-lt"/>
          <a:ea typeface="TheSans B5 Plain" charset="0"/>
          <a:cs typeface="TheSans B5 Plain" charset="0"/>
        </a:defRPr>
      </a:lvl3pPr>
      <a:lvl4pPr marL="9382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800" b="0" i="0" kern="1200">
          <a:solidFill>
            <a:schemeClr val="tx1">
              <a:lumMod val="65000"/>
              <a:lumOff val="35000"/>
            </a:schemeClr>
          </a:solidFill>
          <a:latin typeface="+mn-lt"/>
          <a:ea typeface="TheSans B5 Plain" charset="0"/>
          <a:cs typeface="TheSans B5 Plain" charset="0"/>
        </a:defRPr>
      </a:lvl4pPr>
      <a:lvl5pPr marL="12049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600" b="0" i="0" kern="1200">
          <a:solidFill>
            <a:schemeClr val="tx1">
              <a:lumMod val="65000"/>
              <a:lumOff val="35000"/>
            </a:schemeClr>
          </a:solidFill>
          <a:latin typeface="+mn-lt"/>
          <a:ea typeface="TheSans B5 Plain" charset="0"/>
          <a:cs typeface="TheSans B5 Plain"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570F78-CEC9-4663-A127-27B2848636DA}"/>
              </a:ext>
            </a:extLst>
          </p:cNvPr>
          <p:cNvPicPr>
            <a:picLocks noChangeAspect="1"/>
          </p:cNvPicPr>
          <p:nvPr/>
        </p:nvPicPr>
        <p:blipFill>
          <a:blip r:embed="rId2"/>
          <a:stretch>
            <a:fillRect/>
          </a:stretch>
        </p:blipFill>
        <p:spPr>
          <a:xfrm>
            <a:off x="0" y="0"/>
            <a:ext cx="12280490" cy="6858000"/>
          </a:xfrm>
          <a:prstGeom prst="rect">
            <a:avLst/>
          </a:prstGeom>
        </p:spPr>
      </p:pic>
      <p:sp>
        <p:nvSpPr>
          <p:cNvPr id="2" name="Title 1"/>
          <p:cNvSpPr>
            <a:spLocks noGrp="1"/>
          </p:cNvSpPr>
          <p:nvPr>
            <p:ph type="ctrTitle"/>
          </p:nvPr>
        </p:nvSpPr>
        <p:spPr>
          <a:xfrm>
            <a:off x="731486" y="3435588"/>
            <a:ext cx="10817518" cy="1269940"/>
          </a:xfrm>
        </p:spPr>
        <p:txBody>
          <a:bodyPr>
            <a:noAutofit/>
          </a:bodyPr>
          <a:lstStyle/>
          <a:p>
            <a:pPr algn="ctr"/>
            <a:r>
              <a:rPr lang="en-US" sz="8000" dirty="0">
                <a:solidFill>
                  <a:schemeClr val="accent3">
                    <a:lumMod val="20000"/>
                    <a:lumOff val="80000"/>
                  </a:schemeClr>
                </a:solidFill>
                <a:latin typeface="Bebas Neue Bold" panose="020B0606020202050201" pitchFamily="34" charset="0"/>
              </a:rPr>
              <a:t>Sponsorship Opportunities</a:t>
            </a:r>
            <a:endParaRPr lang="en-AU" sz="8000" dirty="0">
              <a:solidFill>
                <a:schemeClr val="accent3">
                  <a:lumMod val="20000"/>
                  <a:lumOff val="80000"/>
                </a:schemeClr>
              </a:solidFill>
              <a:latin typeface="Bebas Neue Bold" panose="020B0606020202050201" pitchFamily="34" charset="0"/>
            </a:endParaRPr>
          </a:p>
        </p:txBody>
      </p:sp>
      <p:pic>
        <p:nvPicPr>
          <p:cNvPr id="6" name="Picture 5">
            <a:extLst>
              <a:ext uri="{FF2B5EF4-FFF2-40B4-BE49-F238E27FC236}">
                <a16:creationId xmlns:a16="http://schemas.microsoft.com/office/drawing/2014/main" id="{FDAFF450-7D58-46F8-B600-5107E42B0420}"/>
              </a:ext>
            </a:extLst>
          </p:cNvPr>
          <p:cNvPicPr>
            <a:picLocks noChangeAspect="1"/>
          </p:cNvPicPr>
          <p:nvPr/>
        </p:nvPicPr>
        <p:blipFill>
          <a:blip r:embed="rId3"/>
          <a:stretch>
            <a:fillRect/>
          </a:stretch>
        </p:blipFill>
        <p:spPr>
          <a:xfrm>
            <a:off x="3448245" y="883203"/>
            <a:ext cx="5029157" cy="1669183"/>
          </a:xfrm>
          <a:prstGeom prst="rect">
            <a:avLst/>
          </a:prstGeom>
        </p:spPr>
      </p:pic>
    </p:spTree>
    <p:extLst>
      <p:ext uri="{BB962C8B-B14F-4D97-AF65-F5344CB8AC3E}">
        <p14:creationId xmlns:p14="http://schemas.microsoft.com/office/powerpoint/2010/main" val="2915449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B70454A-8E27-4F45-B6EF-6D568230227A}" type="slidenum">
              <a:rPr lang="en-US" smtClean="0"/>
              <a:t>2</a:t>
            </a:fld>
            <a:endParaRPr lang="en-US"/>
          </a:p>
        </p:txBody>
      </p:sp>
      <p:sp>
        <p:nvSpPr>
          <p:cNvPr id="5" name="Text Placeholder 1"/>
          <p:cNvSpPr>
            <a:spLocks noGrp="1"/>
          </p:cNvSpPr>
          <p:nvPr>
            <p:ph type="body" idx="1"/>
          </p:nvPr>
        </p:nvSpPr>
        <p:spPr>
          <a:xfrm>
            <a:off x="499520" y="495595"/>
            <a:ext cx="8496000" cy="624254"/>
          </a:xfrm>
          <a:noFill/>
        </p:spPr>
        <p:txBody>
          <a:bodyPr>
            <a:noAutofit/>
          </a:bodyPr>
          <a:lstStyle/>
          <a:p>
            <a:pPr algn="l"/>
            <a:r>
              <a:rPr lang="en-US" sz="3600" dirty="0">
                <a:solidFill>
                  <a:schemeClr val="tx1"/>
                </a:solidFill>
                <a:latin typeface="Bebas Neue Bold" panose="020B0606020202050201" pitchFamily="34" charset="0"/>
              </a:rPr>
              <a:t>National Indoor Cricket League (NICL)</a:t>
            </a:r>
            <a:endParaRPr lang="en-AU" sz="3600" dirty="0">
              <a:solidFill>
                <a:schemeClr val="tx1"/>
              </a:solidFill>
              <a:latin typeface="Bebas Neue Bold" panose="020B0606020202050201" pitchFamily="34" charset="0"/>
            </a:endParaRPr>
          </a:p>
        </p:txBody>
      </p:sp>
      <p:sp>
        <p:nvSpPr>
          <p:cNvPr id="7" name="Rectangle 1"/>
          <p:cNvSpPr>
            <a:spLocks noChangeArrowheads="1"/>
          </p:cNvSpPr>
          <p:nvPr/>
        </p:nvSpPr>
        <p:spPr bwMode="auto">
          <a:xfrm>
            <a:off x="689869" y="1332030"/>
            <a:ext cx="9798619" cy="4616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l" defTabSz="268288" rtl="0" eaLnBrk="0" fontAlgn="base" latinLnBrk="0" hangingPunct="0">
              <a:lnSpc>
                <a:spcPct val="100000"/>
              </a:lnSpc>
              <a:spcBef>
                <a:spcPct val="0"/>
              </a:spcBef>
              <a:spcAft>
                <a:spcPct val="0"/>
              </a:spcAft>
              <a:buClrTx/>
              <a:buSzTx/>
              <a:tabLst/>
            </a:pPr>
            <a:r>
              <a:rPr kumimoji="0" lang="en-US" altLang="en-US" sz="1200" b="0" i="0" u="none" strike="noStrike" cap="none" normalizeH="0" baseline="0" dirty="0">
                <a:ln>
                  <a:noFill/>
                </a:ln>
                <a:solidFill>
                  <a:srgbClr val="000000"/>
                </a:solidFill>
                <a:effectLst/>
                <a:latin typeface="+mn-lt"/>
                <a:ea typeface="Calibri" panose="020F0502020204030204" pitchFamily="34" charset="0"/>
                <a:cs typeface="Calibri" panose="020F0502020204030204" pitchFamily="34" charset="0"/>
              </a:rPr>
              <a:t>The National Indoor Cricket League is</a:t>
            </a:r>
            <a:r>
              <a:rPr kumimoji="0" lang="en-US" altLang="en-US" sz="1200" b="0" i="0" u="none" strike="noStrike" cap="none" normalizeH="0" dirty="0">
                <a:ln>
                  <a:noFill/>
                </a:ln>
                <a:solidFill>
                  <a:srgbClr val="000000"/>
                </a:solidFill>
                <a:effectLst/>
                <a:latin typeface="+mn-lt"/>
                <a:ea typeface="Calibri" panose="020F0502020204030204" pitchFamily="34" charset="0"/>
                <a:cs typeface="Calibri" panose="020F0502020204030204" pitchFamily="34" charset="0"/>
              </a:rPr>
              <a:t> a </a:t>
            </a:r>
            <a:r>
              <a:rPr kumimoji="0" lang="en-US" altLang="en-US" sz="1200" b="0" i="0" u="none" strike="noStrike" cap="none" normalizeH="0" baseline="0" dirty="0">
                <a:ln>
                  <a:noFill/>
                </a:ln>
                <a:solidFill>
                  <a:srgbClr val="000000"/>
                </a:solidFill>
                <a:effectLst/>
                <a:latin typeface="+mn-lt"/>
                <a:ea typeface="Calibri" panose="020F0502020204030204" pitchFamily="34" charset="0"/>
                <a:cs typeface="Calibri" panose="020F0502020204030204" pitchFamily="34" charset="0"/>
              </a:rPr>
              <a:t>National Centre/Club based competition creating a clear and attractive player pathway leading to better quality players and</a:t>
            </a:r>
            <a:r>
              <a:rPr kumimoji="0" lang="en-US" altLang="en-US" sz="1200" b="0" i="0" u="none" strike="noStrike" cap="none" normalizeH="0" dirty="0">
                <a:ln>
                  <a:noFill/>
                </a:ln>
                <a:solidFill>
                  <a:srgbClr val="000000"/>
                </a:solidFill>
                <a:effectLst/>
                <a:latin typeface="+mn-lt"/>
                <a:ea typeface="Calibri" panose="020F0502020204030204" pitchFamily="34" charset="0"/>
                <a:cs typeface="Calibri" panose="020F0502020204030204" pitchFamily="34" charset="0"/>
              </a:rPr>
              <a:t> </a:t>
            </a:r>
            <a:r>
              <a:rPr kumimoji="0" lang="en-US" altLang="en-US" sz="1200" b="0" i="0" u="none" strike="noStrike" cap="none" normalizeH="0" baseline="0" dirty="0">
                <a:ln>
                  <a:noFill/>
                </a:ln>
                <a:solidFill>
                  <a:srgbClr val="000000"/>
                </a:solidFill>
                <a:effectLst/>
                <a:latin typeface="+mn-lt"/>
                <a:ea typeface="Calibri" panose="020F0502020204030204" pitchFamily="34" charset="0"/>
                <a:cs typeface="Calibri" panose="020F0502020204030204" pitchFamily="34" charset="0"/>
              </a:rPr>
              <a:t>more people playing the game. </a:t>
            </a:r>
            <a:r>
              <a:rPr lang="en-US" altLang="en-US" sz="1200" dirty="0">
                <a:solidFill>
                  <a:srgbClr val="000000"/>
                </a:solidFill>
                <a:latin typeface="+mn-lt"/>
                <a:ea typeface="Calibri" panose="020F0502020204030204" pitchFamily="34" charset="0"/>
                <a:cs typeface="Calibri" panose="020F0502020204030204" pitchFamily="34" charset="0"/>
              </a:rPr>
              <a:t>2020 represents the fourth year of this national competition.</a:t>
            </a:r>
          </a:p>
          <a:p>
            <a:pPr marR="0" lvl="0" algn="l" defTabSz="268288" rtl="0" eaLnBrk="0" fontAlgn="base" latinLnBrk="0" hangingPunct="0">
              <a:lnSpc>
                <a:spcPct val="100000"/>
              </a:lnSpc>
              <a:spcBef>
                <a:spcPct val="0"/>
              </a:spcBef>
              <a:spcAft>
                <a:spcPct val="0"/>
              </a:spcAft>
              <a:buClrTx/>
              <a:buSzTx/>
              <a:tabLst/>
            </a:pPr>
            <a:endParaRPr lang="en-US" altLang="en-US" sz="1200" dirty="0">
              <a:solidFill>
                <a:srgbClr val="000000"/>
              </a:solidFill>
              <a:latin typeface="+mn-lt"/>
              <a:ea typeface="Calibri" panose="020F0502020204030204" pitchFamily="34" charset="0"/>
              <a:cs typeface="Calibri" panose="020F0502020204030204" pitchFamily="34" charset="0"/>
            </a:endParaRPr>
          </a:p>
          <a:p>
            <a:pPr marR="0" lvl="0" algn="l" defTabSz="268288" rtl="0" eaLnBrk="0" fontAlgn="base" latinLnBrk="0" hangingPunct="0">
              <a:lnSpc>
                <a:spcPct val="100000"/>
              </a:lnSpc>
              <a:spcBef>
                <a:spcPct val="0"/>
              </a:spcBef>
              <a:spcAft>
                <a:spcPct val="0"/>
              </a:spcAft>
              <a:buClrTx/>
              <a:buSzTx/>
              <a:tabLst/>
            </a:pPr>
            <a:r>
              <a:rPr lang="en-US" altLang="en-US" sz="1200" dirty="0">
                <a:solidFill>
                  <a:srgbClr val="000000"/>
                </a:solidFill>
                <a:latin typeface="+mn-lt"/>
                <a:ea typeface="Calibri" panose="020F0502020204030204" pitchFamily="34" charset="0"/>
                <a:cs typeface="Calibri" panose="020F0502020204030204" pitchFamily="34" charset="0"/>
              </a:rPr>
              <a:t>ISC Teamwear are the official apparel supplier of the competition, kitting out all teams in their playing apparel for the 2020 season. </a:t>
            </a:r>
          </a:p>
          <a:p>
            <a:pPr marR="0" lvl="0" algn="l" defTabSz="268288" rtl="0" eaLnBrk="0" fontAlgn="base" latinLnBrk="0" hangingPunct="0">
              <a:lnSpc>
                <a:spcPct val="100000"/>
              </a:lnSpc>
              <a:spcBef>
                <a:spcPct val="0"/>
              </a:spcBef>
              <a:spcAft>
                <a:spcPct val="0"/>
              </a:spcAft>
              <a:buClrTx/>
              <a:buSzTx/>
              <a:tabLst/>
            </a:pPr>
            <a:endParaRPr lang="en-US" altLang="en-US" sz="1200" dirty="0">
              <a:solidFill>
                <a:srgbClr val="000000"/>
              </a:solidFill>
              <a:latin typeface="+mn-lt"/>
              <a:ea typeface="Calibri" panose="020F0502020204030204" pitchFamily="34" charset="0"/>
              <a:cs typeface="Calibri" panose="020F0502020204030204" pitchFamily="34" charset="0"/>
            </a:endParaRPr>
          </a:p>
          <a:p>
            <a:pPr marR="0" lvl="0" algn="l" defTabSz="268288" rtl="0" eaLnBrk="0" fontAlgn="base" latinLnBrk="0" hangingPunct="0">
              <a:lnSpc>
                <a:spcPct val="100000"/>
              </a:lnSpc>
              <a:spcBef>
                <a:spcPct val="0"/>
              </a:spcBef>
              <a:spcAft>
                <a:spcPct val="0"/>
              </a:spcAft>
              <a:buClrTx/>
              <a:buSzTx/>
              <a:tabLst/>
            </a:pPr>
            <a:r>
              <a:rPr lang="en-US" altLang="en-US" sz="1200" dirty="0">
                <a:solidFill>
                  <a:srgbClr val="000000"/>
                </a:solidFill>
                <a:latin typeface="+mn-lt"/>
                <a:ea typeface="Calibri" panose="020F0502020204030204" pitchFamily="34" charset="0"/>
                <a:cs typeface="Calibri" panose="020F0502020204030204" pitchFamily="34" charset="0"/>
              </a:rPr>
              <a:t>Teams will use Burley </a:t>
            </a:r>
            <a:r>
              <a:rPr lang="en-US" altLang="en-US" sz="1200" dirty="0" err="1">
                <a:solidFill>
                  <a:srgbClr val="000000"/>
                </a:solidFill>
                <a:latin typeface="+mn-lt"/>
                <a:ea typeface="Calibri" panose="020F0502020204030204" pitchFamily="34" charset="0"/>
                <a:cs typeface="Calibri" panose="020F0502020204030204" pitchFamily="34" charset="0"/>
              </a:rPr>
              <a:t>Sekem</a:t>
            </a:r>
            <a:r>
              <a:rPr lang="en-US" altLang="en-US" sz="1200" dirty="0">
                <a:solidFill>
                  <a:srgbClr val="000000"/>
                </a:solidFill>
                <a:latin typeface="+mn-lt"/>
                <a:ea typeface="Calibri" panose="020F0502020204030204" pitchFamily="34" charset="0"/>
                <a:cs typeface="Calibri" panose="020F0502020204030204" pitchFamily="34" charset="0"/>
              </a:rPr>
              <a:t> indoor cricket balls during matches, and play under consistent match rules and regulations across the country.</a:t>
            </a:r>
          </a:p>
          <a:p>
            <a:pPr marR="0" lvl="0" algn="l" defTabSz="268288" rtl="0" eaLnBrk="0" fontAlgn="base" latinLnBrk="0" hangingPunct="0">
              <a:lnSpc>
                <a:spcPct val="100000"/>
              </a:lnSpc>
              <a:spcBef>
                <a:spcPct val="0"/>
              </a:spcBef>
              <a:spcAft>
                <a:spcPct val="0"/>
              </a:spcAft>
              <a:buClrTx/>
              <a:buSzTx/>
              <a:tabLst/>
            </a:pPr>
            <a:endParaRPr lang="en-US" altLang="en-US" sz="2000" b="1" dirty="0">
              <a:solidFill>
                <a:srgbClr val="000000"/>
              </a:solidFill>
              <a:latin typeface="+mn-lt"/>
              <a:ea typeface="Calibri" panose="020F0502020204030204" pitchFamily="34" charset="0"/>
              <a:cs typeface="Calibri" panose="020F0502020204030204" pitchFamily="34" charset="0"/>
            </a:endParaRPr>
          </a:p>
          <a:p>
            <a:pPr marR="0" lvl="0" algn="l" defTabSz="268288" rtl="0" eaLnBrk="0" fontAlgn="base" latinLnBrk="0" hangingPunct="0">
              <a:lnSpc>
                <a:spcPct val="100000"/>
              </a:lnSpc>
              <a:spcBef>
                <a:spcPct val="0"/>
              </a:spcBef>
              <a:spcAft>
                <a:spcPct val="0"/>
              </a:spcAft>
              <a:buClrTx/>
              <a:buSzTx/>
              <a:tabLst/>
            </a:pPr>
            <a:r>
              <a:rPr kumimoji="0" lang="en-US" altLang="en-US" sz="2400" b="1" i="0" strike="noStrike" cap="none" normalizeH="0" dirty="0">
                <a:ln>
                  <a:noFill/>
                </a:ln>
                <a:solidFill>
                  <a:srgbClr val="000000"/>
                </a:solidFill>
                <a:effectLst/>
                <a:latin typeface="Bebas Neue Bold" panose="020B0606020202050201" pitchFamily="34" charset="0"/>
                <a:ea typeface="Calibri" panose="020F0502020204030204" pitchFamily="34" charset="0"/>
                <a:cs typeface="Calibri" panose="020F0502020204030204" pitchFamily="34" charset="0"/>
              </a:rPr>
              <a:t>Key Highlights</a:t>
            </a:r>
            <a:endParaRPr kumimoji="0" lang="en-US" altLang="en-US" sz="2400" b="1" i="0" strike="noStrike" cap="none" normalizeH="0" baseline="0" dirty="0">
              <a:ln>
                <a:noFill/>
              </a:ln>
              <a:solidFill>
                <a:srgbClr val="000000"/>
              </a:solidFill>
              <a:effectLst/>
              <a:latin typeface="Bebas Neue Bold" panose="020B0606020202050201" pitchFamily="34" charset="0"/>
              <a:ea typeface="Calibri" panose="020F0502020204030204" pitchFamily="34" charset="0"/>
              <a:cs typeface="Calibri" panose="020F0502020204030204" pitchFamily="34" charset="0"/>
            </a:endParaRPr>
          </a:p>
          <a:p>
            <a:pPr marR="0" lvl="0" indent="268288" algn="l" defTabSz="268288" rtl="0" eaLnBrk="0" fontAlgn="base" latinLnBrk="0" hangingPunct="0">
              <a:lnSpc>
                <a:spcPct val="100000"/>
              </a:lnSpc>
              <a:spcBef>
                <a:spcPct val="0"/>
              </a:spcBef>
              <a:spcAft>
                <a:spcPct val="0"/>
              </a:spcAft>
              <a:buClrTx/>
              <a:buSzTx/>
              <a:buFontTx/>
              <a:buChar char="•"/>
              <a:tabLst/>
            </a:pPr>
            <a:endParaRPr kumimoji="0" lang="en-AU" altLang="en-US" sz="800" b="0" i="0" u="none" strike="noStrike" cap="none" normalizeH="0" baseline="0" dirty="0">
              <a:ln>
                <a:noFill/>
              </a:ln>
              <a:solidFill>
                <a:schemeClr val="tx1"/>
              </a:solidFill>
              <a:effectLst/>
              <a:latin typeface="+mn-lt"/>
            </a:endParaRPr>
          </a:p>
          <a:p>
            <a:pPr marR="0" lvl="0" indent="268288" algn="l" defTabSz="268288" rtl="0" eaLnBrk="0" fontAlgn="base" latinLnBrk="0" hangingPunct="0">
              <a:lnSpc>
                <a:spcPct val="100000"/>
              </a:lnSpc>
              <a:spcBef>
                <a:spcPct val="0"/>
              </a:spcBef>
              <a:spcAft>
                <a:spcPct val="0"/>
              </a:spcAft>
              <a:buClrTx/>
              <a:buSzTx/>
              <a:buFontTx/>
              <a:buChar char="•"/>
              <a:tabLst/>
            </a:pPr>
            <a:r>
              <a:rPr kumimoji="0" lang="en-US" altLang="en-US" sz="1200" i="0" u="none" strike="noStrike" cap="none" normalizeH="0" baseline="0" dirty="0">
                <a:ln>
                  <a:noFill/>
                </a:ln>
                <a:effectLst/>
                <a:latin typeface="+mn-lt"/>
                <a:ea typeface="Calibri" panose="020F0502020204030204" pitchFamily="34" charset="0"/>
                <a:cs typeface="Calibri" panose="020F0502020204030204" pitchFamily="34" charset="0"/>
              </a:rPr>
              <a:t> </a:t>
            </a:r>
            <a:r>
              <a:rPr kumimoji="0" lang="en-US" altLang="en-US" sz="1200" b="1" i="0" u="none" strike="noStrike" cap="none" normalizeH="0" baseline="0" dirty="0">
                <a:ln>
                  <a:noFill/>
                </a:ln>
                <a:solidFill>
                  <a:srgbClr val="FF0000"/>
                </a:solidFill>
                <a:effectLst/>
                <a:latin typeface="+mn-lt"/>
                <a:ea typeface="Calibri" panose="020F0502020204030204" pitchFamily="34" charset="0"/>
                <a:cs typeface="Calibri" panose="020F0502020204030204" pitchFamily="34" charset="0"/>
              </a:rPr>
              <a:t>Over 75 teams &amp; 1000 participants </a:t>
            </a:r>
            <a:r>
              <a:rPr kumimoji="0" lang="en-US" altLang="en-US" sz="1200" i="0" u="none" strike="noStrike" cap="none" normalizeH="0" baseline="0" dirty="0">
                <a:ln>
                  <a:noFill/>
                </a:ln>
                <a:effectLst/>
                <a:latin typeface="+mn-lt"/>
                <a:ea typeface="Calibri" panose="020F0502020204030204" pitchFamily="34" charset="0"/>
                <a:cs typeface="Calibri" panose="020F0502020204030204" pitchFamily="34" charset="0"/>
              </a:rPr>
              <a:t>across Australia playing regular matches between April and August</a:t>
            </a:r>
            <a:r>
              <a:rPr lang="en-US" altLang="en-US" sz="1200" dirty="0">
                <a:latin typeface="+mn-lt"/>
                <a:ea typeface="Calibri" panose="020F0502020204030204" pitchFamily="34" charset="0"/>
                <a:cs typeface="Calibri" panose="020F0502020204030204" pitchFamily="34" charset="0"/>
              </a:rPr>
              <a:t>.</a:t>
            </a:r>
          </a:p>
          <a:p>
            <a:pPr marR="0" lvl="0" indent="268288" algn="l" defTabSz="268288" rtl="0" eaLnBrk="0" fontAlgn="base" latinLnBrk="0" hangingPunct="0">
              <a:lnSpc>
                <a:spcPct val="100000"/>
              </a:lnSpc>
              <a:spcBef>
                <a:spcPct val="0"/>
              </a:spcBef>
              <a:spcAft>
                <a:spcPct val="0"/>
              </a:spcAft>
              <a:buClrTx/>
              <a:buSzTx/>
              <a:buFontTx/>
              <a:buChar char="•"/>
              <a:tabLst/>
            </a:pPr>
            <a:endParaRPr lang="en-US" altLang="en-US" sz="800" dirty="0">
              <a:latin typeface="+mn-lt"/>
              <a:ea typeface="Calibri" panose="020F0502020204030204" pitchFamily="34" charset="0"/>
              <a:cs typeface="Calibri" panose="020F0502020204030204" pitchFamily="34" charset="0"/>
            </a:endParaRPr>
          </a:p>
          <a:p>
            <a:pPr marR="0" lvl="0" indent="268288" algn="l" defTabSz="268288" rtl="0" eaLnBrk="0" fontAlgn="base" latinLnBrk="0" hangingPunct="0">
              <a:lnSpc>
                <a:spcPct val="100000"/>
              </a:lnSpc>
              <a:spcBef>
                <a:spcPct val="0"/>
              </a:spcBef>
              <a:spcAft>
                <a:spcPct val="0"/>
              </a:spcAft>
              <a:buClrTx/>
              <a:buSzTx/>
              <a:buFontTx/>
              <a:buChar char="•"/>
              <a:tabLst/>
            </a:pPr>
            <a:r>
              <a:rPr kumimoji="0" lang="en-US" altLang="en-US" sz="1200" b="1" i="0" u="none" strike="noStrike" cap="none" normalizeH="0" baseline="0" dirty="0">
                <a:ln>
                  <a:noFill/>
                </a:ln>
                <a:effectLst/>
                <a:latin typeface="+mn-lt"/>
                <a:ea typeface="Calibri" panose="020F0502020204030204" pitchFamily="34" charset="0"/>
                <a:cs typeface="Calibri" panose="020F0502020204030204" pitchFamily="34" charset="0"/>
              </a:rPr>
              <a:t> </a:t>
            </a:r>
            <a:r>
              <a:rPr kumimoji="0" lang="en-US" altLang="en-US" sz="1200" b="1" i="0" u="none" strike="noStrike" cap="none" normalizeH="0" baseline="0" dirty="0">
                <a:ln>
                  <a:noFill/>
                </a:ln>
                <a:solidFill>
                  <a:srgbClr val="FF0000"/>
                </a:solidFill>
                <a:effectLst/>
                <a:latin typeface="+mn-lt"/>
                <a:ea typeface="Calibri" panose="020F0502020204030204" pitchFamily="34" charset="0"/>
                <a:cs typeface="Calibri" panose="020F0502020204030204" pitchFamily="34" charset="0"/>
              </a:rPr>
              <a:t>15</a:t>
            </a:r>
            <a:r>
              <a:rPr kumimoji="0" lang="en-US" altLang="en-US" sz="1200" b="1" i="0" u="none" strike="noStrike" cap="none" normalizeH="0" dirty="0">
                <a:ln>
                  <a:noFill/>
                </a:ln>
                <a:solidFill>
                  <a:srgbClr val="FF0000"/>
                </a:solidFill>
                <a:effectLst/>
                <a:latin typeface="+mn-lt"/>
                <a:ea typeface="Calibri" panose="020F0502020204030204" pitchFamily="34" charset="0"/>
                <a:cs typeface="Calibri" panose="020F0502020204030204" pitchFamily="34" charset="0"/>
              </a:rPr>
              <a:t> competition Zones </a:t>
            </a:r>
            <a:r>
              <a:rPr kumimoji="0" lang="en-US" altLang="en-US" sz="1200" i="0" u="none" strike="noStrike" cap="none" normalizeH="0" dirty="0">
                <a:ln>
                  <a:noFill/>
                </a:ln>
                <a:effectLst/>
                <a:latin typeface="+mn-lt"/>
                <a:ea typeface="Calibri" panose="020F0502020204030204" pitchFamily="34" charset="0"/>
                <a:cs typeface="Calibri" panose="020F0502020204030204" pitchFamily="34" charset="0"/>
              </a:rPr>
              <a:t>(both men’s and women’s divisions).</a:t>
            </a:r>
          </a:p>
          <a:p>
            <a:pPr marR="0" lvl="0" indent="268288" algn="l" defTabSz="268288" rtl="0" eaLnBrk="0" fontAlgn="base" latinLnBrk="0" hangingPunct="0">
              <a:lnSpc>
                <a:spcPct val="100000"/>
              </a:lnSpc>
              <a:spcBef>
                <a:spcPct val="0"/>
              </a:spcBef>
              <a:spcAft>
                <a:spcPct val="0"/>
              </a:spcAft>
              <a:buClrTx/>
              <a:buSzTx/>
              <a:buFontTx/>
              <a:buChar char="•"/>
              <a:tabLst/>
            </a:pPr>
            <a:endParaRPr kumimoji="0" lang="en-US" altLang="en-US" sz="800" i="0" u="none" strike="noStrike" cap="none" normalizeH="0" baseline="0" dirty="0">
              <a:ln>
                <a:noFill/>
              </a:ln>
              <a:effectLst/>
              <a:latin typeface="+mn-lt"/>
              <a:ea typeface="Calibri" panose="020F0502020204030204" pitchFamily="34" charset="0"/>
              <a:cs typeface="Calibri" panose="020F0502020204030204" pitchFamily="34" charset="0"/>
            </a:endParaRPr>
          </a:p>
          <a:p>
            <a:pPr lvl="0" indent="268288" defTabSz="268288">
              <a:buFontTx/>
              <a:buChar char="•"/>
            </a:pPr>
            <a:r>
              <a:rPr lang="en-US" altLang="en-US" sz="1200" dirty="0">
                <a:latin typeface="+mn-lt"/>
                <a:ea typeface="Calibri" panose="020F0502020204030204" pitchFamily="34" charset="0"/>
                <a:cs typeface="Calibri" panose="020F0502020204030204" pitchFamily="34" charset="0"/>
              </a:rPr>
              <a:t> Over </a:t>
            </a:r>
            <a:r>
              <a:rPr lang="en-US" altLang="en-US" sz="1200" b="1" dirty="0">
                <a:solidFill>
                  <a:srgbClr val="FF0000"/>
                </a:solidFill>
                <a:latin typeface="+mn-lt"/>
                <a:ea typeface="Calibri" panose="020F0502020204030204" pitchFamily="34" charset="0"/>
                <a:cs typeface="Calibri" panose="020F0502020204030204" pitchFamily="34" charset="0"/>
              </a:rPr>
              <a:t>400 games played</a:t>
            </a:r>
            <a:r>
              <a:rPr lang="en-US" altLang="en-US" sz="1200" dirty="0">
                <a:latin typeface="+mn-lt"/>
                <a:ea typeface="Calibri" panose="020F0502020204030204" pitchFamily="34" charset="0"/>
                <a:cs typeface="Calibri" panose="020F0502020204030204" pitchFamily="34" charset="0"/>
              </a:rPr>
              <a:t>, including </a:t>
            </a:r>
            <a:r>
              <a:rPr lang="en-US" altLang="en-US" sz="1200" b="1" dirty="0">
                <a:solidFill>
                  <a:srgbClr val="FF0000"/>
                </a:solidFill>
                <a:latin typeface="+mn-lt"/>
                <a:ea typeface="Calibri" panose="020F0502020204030204" pitchFamily="34" charset="0"/>
                <a:cs typeface="Calibri" panose="020F0502020204030204" pitchFamily="34" charset="0"/>
              </a:rPr>
              <a:t>60 live streamed games</a:t>
            </a:r>
            <a:r>
              <a:rPr lang="en-US" altLang="en-US" sz="1200" dirty="0">
                <a:latin typeface="+mn-lt"/>
                <a:ea typeface="Calibri" panose="020F0502020204030204" pitchFamily="34" charset="0"/>
                <a:cs typeface="Calibri" panose="020F0502020204030204" pitchFamily="34" charset="0"/>
              </a:rPr>
              <a:t>.</a:t>
            </a:r>
            <a:endParaRPr lang="en-US" altLang="en-US" sz="1100" dirty="0">
              <a:latin typeface="+mn-lt"/>
              <a:ea typeface="Calibri" panose="020F0502020204030204" pitchFamily="34" charset="0"/>
              <a:cs typeface="Calibri" panose="020F0502020204030204" pitchFamily="34" charset="0"/>
            </a:endParaRPr>
          </a:p>
          <a:p>
            <a:pPr marR="0" lvl="0" algn="l" defTabSz="268288" rtl="0" eaLnBrk="0" fontAlgn="base" latinLnBrk="0" hangingPunct="0">
              <a:lnSpc>
                <a:spcPct val="100000"/>
              </a:lnSpc>
              <a:spcBef>
                <a:spcPct val="0"/>
              </a:spcBef>
              <a:spcAft>
                <a:spcPct val="0"/>
              </a:spcAft>
              <a:buClrTx/>
              <a:buSzTx/>
              <a:tabLst/>
            </a:pPr>
            <a:endParaRPr kumimoji="0" lang="en-AU" altLang="en-US" sz="800" i="0" u="none" strike="noStrike" cap="none" normalizeH="0" baseline="0" dirty="0">
              <a:ln>
                <a:noFill/>
              </a:ln>
              <a:effectLst/>
              <a:latin typeface="+mn-lt"/>
            </a:endParaRPr>
          </a:p>
          <a:p>
            <a:pPr marR="0" lvl="0" indent="268288" algn="l" defTabSz="914400" rtl="0" eaLnBrk="0" fontAlgn="base" latinLnBrk="0" hangingPunct="0">
              <a:lnSpc>
                <a:spcPct val="100000"/>
              </a:lnSpc>
              <a:spcBef>
                <a:spcPct val="0"/>
              </a:spcBef>
              <a:spcAft>
                <a:spcPct val="0"/>
              </a:spcAft>
              <a:buClrTx/>
              <a:buSzTx/>
              <a:buFontTx/>
              <a:buChar char="•"/>
              <a:tabLst/>
            </a:pPr>
            <a:r>
              <a:rPr kumimoji="0" lang="en-US" altLang="en-US" sz="1200" i="0" u="none" strike="noStrike" cap="none" normalizeH="0" baseline="0" dirty="0">
                <a:ln>
                  <a:noFill/>
                </a:ln>
                <a:effectLst/>
                <a:latin typeface="+mn-lt"/>
                <a:ea typeface="Calibri" panose="020F0502020204030204" pitchFamily="34" charset="0"/>
                <a:cs typeface="Calibri" panose="020F0502020204030204" pitchFamily="34" charset="0"/>
              </a:rPr>
              <a:t> Games hosted across </a:t>
            </a:r>
            <a:r>
              <a:rPr lang="en-US" altLang="en-US" sz="1200" b="1" dirty="0">
                <a:solidFill>
                  <a:srgbClr val="FF0000"/>
                </a:solidFill>
                <a:latin typeface="+mn-lt"/>
                <a:ea typeface="Calibri" panose="020F0502020204030204" pitchFamily="34" charset="0"/>
                <a:cs typeface="Calibri" panose="020F0502020204030204" pitchFamily="34" charset="0"/>
              </a:rPr>
              <a:t>32</a:t>
            </a:r>
            <a:r>
              <a:rPr kumimoji="0" lang="en-US" altLang="en-US" sz="1200" b="1" i="0" u="none" strike="noStrike" cap="none" normalizeH="0" baseline="0" dirty="0">
                <a:ln>
                  <a:noFill/>
                </a:ln>
                <a:solidFill>
                  <a:srgbClr val="FF0000"/>
                </a:solidFill>
                <a:effectLst/>
                <a:latin typeface="+mn-lt"/>
                <a:ea typeface="Calibri" panose="020F0502020204030204" pitchFamily="34" charset="0"/>
                <a:cs typeface="Calibri" panose="020F0502020204030204" pitchFamily="34" charset="0"/>
              </a:rPr>
              <a:t> indoor sports </a:t>
            </a:r>
            <a:r>
              <a:rPr kumimoji="0" lang="en-US" altLang="en-US" sz="1200" b="1" i="0" u="none" strike="noStrike" cap="none" normalizeH="0" baseline="0" dirty="0" err="1">
                <a:ln>
                  <a:noFill/>
                </a:ln>
                <a:solidFill>
                  <a:srgbClr val="FF0000"/>
                </a:solidFill>
                <a:effectLst/>
                <a:latin typeface="+mn-lt"/>
                <a:ea typeface="Calibri" panose="020F0502020204030204" pitchFamily="34" charset="0"/>
                <a:cs typeface="Calibri" panose="020F0502020204030204" pitchFamily="34" charset="0"/>
              </a:rPr>
              <a:t>centres</a:t>
            </a:r>
            <a:r>
              <a:rPr kumimoji="0" lang="en-US" altLang="en-US" sz="1200" b="1" i="0" u="none" strike="noStrike" cap="none" normalizeH="0" baseline="0" dirty="0">
                <a:ln>
                  <a:noFill/>
                </a:ln>
                <a:solidFill>
                  <a:srgbClr val="FF0000"/>
                </a:solidFill>
                <a:effectLst/>
                <a:latin typeface="+mn-lt"/>
                <a:ea typeface="Calibri" panose="020F0502020204030204" pitchFamily="34" charset="0"/>
                <a:cs typeface="Calibri" panose="020F0502020204030204" pitchFamily="34" charset="0"/>
              </a:rPr>
              <a:t> </a:t>
            </a:r>
            <a:r>
              <a:rPr kumimoji="0" lang="en-US" altLang="en-US" sz="1200" i="0" u="none" strike="noStrike" cap="none" normalizeH="0" baseline="0" dirty="0">
                <a:ln>
                  <a:noFill/>
                </a:ln>
                <a:effectLst/>
                <a:latin typeface="+mn-lt"/>
                <a:ea typeface="Calibri" panose="020F0502020204030204" pitchFamily="34" charset="0"/>
                <a:cs typeface="Calibri" panose="020F0502020204030204" pitchFamily="34" charset="0"/>
              </a:rPr>
              <a:t>around the country.</a:t>
            </a:r>
          </a:p>
          <a:p>
            <a:pPr marR="0" lvl="0" indent="268288" algn="l" defTabSz="914400" rtl="0" eaLnBrk="0" fontAlgn="base" latinLnBrk="0" hangingPunct="0">
              <a:lnSpc>
                <a:spcPct val="100000"/>
              </a:lnSpc>
              <a:spcBef>
                <a:spcPct val="0"/>
              </a:spcBef>
              <a:spcAft>
                <a:spcPct val="0"/>
              </a:spcAft>
              <a:buClrTx/>
              <a:buSzTx/>
              <a:buFontTx/>
              <a:buChar char="•"/>
              <a:tabLst/>
            </a:pPr>
            <a:endParaRPr kumimoji="0" lang="en-AU" altLang="en-US" sz="800" i="0" u="none" strike="noStrike" cap="none" normalizeH="0" baseline="0" dirty="0">
              <a:ln>
                <a:noFill/>
              </a:ln>
              <a:effectLst/>
              <a:latin typeface="+mn-lt"/>
            </a:endParaRPr>
          </a:p>
          <a:p>
            <a:pPr lvl="0" indent="268288">
              <a:buFontTx/>
              <a:buChar char="•"/>
            </a:pPr>
            <a:r>
              <a:rPr kumimoji="0" lang="en-US" altLang="en-US" sz="1200" b="1" i="0" u="none" strike="noStrike" cap="none" normalizeH="0" baseline="0" dirty="0">
                <a:ln>
                  <a:noFill/>
                </a:ln>
                <a:effectLst/>
                <a:latin typeface="+mn-lt"/>
                <a:ea typeface="Calibri" panose="020F0502020204030204" pitchFamily="34" charset="0"/>
                <a:cs typeface="Calibri" panose="020F0502020204030204" pitchFamily="34" charset="0"/>
              </a:rPr>
              <a:t> </a:t>
            </a:r>
            <a:r>
              <a:rPr kumimoji="0" lang="en-US" altLang="en-US" sz="1200" b="1" i="0" u="none" strike="noStrike" cap="none" normalizeH="0" baseline="0" dirty="0">
                <a:ln>
                  <a:noFill/>
                </a:ln>
                <a:solidFill>
                  <a:srgbClr val="FF0000"/>
                </a:solidFill>
                <a:effectLst/>
                <a:latin typeface="+mn-lt"/>
                <a:ea typeface="Calibri" panose="020F0502020204030204" pitchFamily="34" charset="0"/>
                <a:cs typeface="Calibri" panose="020F0502020204030204" pitchFamily="34" charset="0"/>
              </a:rPr>
              <a:t>Weekly live stream coverage </a:t>
            </a:r>
            <a:r>
              <a:rPr kumimoji="0" lang="en-US" altLang="en-US" sz="1200" i="0" u="none" strike="noStrike" cap="none" normalizeH="0" baseline="0" dirty="0">
                <a:ln>
                  <a:noFill/>
                </a:ln>
                <a:effectLst/>
                <a:latin typeface="+mn-lt"/>
                <a:ea typeface="Calibri" panose="020F0502020204030204" pitchFamily="34" charset="0"/>
                <a:cs typeface="Calibri" panose="020F0502020204030204" pitchFamily="34" charset="0"/>
              </a:rPr>
              <a:t>on a Sunday evening from late April to mid-August</a:t>
            </a:r>
            <a:r>
              <a:rPr lang="en-US" altLang="en-US" sz="1200" dirty="0">
                <a:latin typeface="+mn-lt"/>
                <a:ea typeface="Calibri" panose="020F0502020204030204" pitchFamily="34" charset="0"/>
                <a:cs typeface="Calibri" panose="020F0502020204030204" pitchFamily="34" charset="0"/>
              </a:rPr>
              <a:t> via the Cricket Australia Indoor Cricket Facebook</a:t>
            </a:r>
            <a:br>
              <a:rPr lang="en-US" altLang="en-US" sz="1200" dirty="0">
                <a:latin typeface="+mn-lt"/>
                <a:ea typeface="Calibri" panose="020F0502020204030204" pitchFamily="34" charset="0"/>
                <a:cs typeface="Calibri" panose="020F0502020204030204" pitchFamily="34" charset="0"/>
              </a:rPr>
            </a:br>
            <a:r>
              <a:rPr lang="en-US" altLang="en-US" sz="1200" dirty="0">
                <a:latin typeface="+mn-lt"/>
                <a:ea typeface="Calibri" panose="020F0502020204030204" pitchFamily="34" charset="0"/>
                <a:cs typeface="Calibri" panose="020F0502020204030204" pitchFamily="34" charset="0"/>
              </a:rPr>
              <a:t>        page.</a:t>
            </a:r>
            <a:endParaRPr kumimoji="0" lang="en-US" altLang="en-US" sz="1200" i="0" u="none" strike="noStrike" cap="none" normalizeH="0" baseline="0" dirty="0">
              <a:ln>
                <a:noFill/>
              </a:ln>
              <a:effectLst/>
              <a:latin typeface="+mn-lt"/>
              <a:ea typeface="Calibri" panose="020F0502020204030204" pitchFamily="34" charset="0"/>
              <a:cs typeface="Calibri" panose="020F0502020204030204" pitchFamily="34" charset="0"/>
            </a:endParaRPr>
          </a:p>
          <a:p>
            <a:pPr marR="0" lvl="0" indent="268288" algn="l" defTabSz="914400" rtl="0" eaLnBrk="0" fontAlgn="base" latinLnBrk="0" hangingPunct="0">
              <a:lnSpc>
                <a:spcPct val="100000"/>
              </a:lnSpc>
              <a:spcBef>
                <a:spcPct val="0"/>
              </a:spcBef>
              <a:spcAft>
                <a:spcPct val="0"/>
              </a:spcAft>
              <a:buClrTx/>
              <a:buSzTx/>
              <a:buFontTx/>
              <a:buChar char="•"/>
              <a:tabLst/>
            </a:pPr>
            <a:endParaRPr kumimoji="0" lang="en-AU" altLang="en-US" sz="800" i="0" u="none" strike="noStrike" cap="none" normalizeH="0" baseline="0" dirty="0">
              <a:ln>
                <a:noFill/>
              </a:ln>
              <a:effectLst/>
              <a:latin typeface="+mn-lt"/>
            </a:endParaRPr>
          </a:p>
          <a:p>
            <a:pPr lvl="0" indent="268288" defTabSz="268288">
              <a:buFontTx/>
              <a:buChar char="•"/>
            </a:pPr>
            <a:r>
              <a:rPr lang="en-US" altLang="en-US" sz="1200" dirty="0">
                <a:latin typeface="+mn-lt"/>
                <a:ea typeface="Calibri" panose="020F0502020204030204" pitchFamily="34" charset="0"/>
                <a:cs typeface="Calibri" panose="020F0502020204030204" pitchFamily="34" charset="0"/>
              </a:rPr>
              <a:t> A National Finals Series bringing together the winning team from each Zone vying for the best team in the country.</a:t>
            </a:r>
          </a:p>
          <a:p>
            <a:pPr lvl="0" indent="268288" defTabSz="268288">
              <a:buFontTx/>
              <a:buChar char="•"/>
            </a:pPr>
            <a:endParaRPr lang="en-US" altLang="en-US" sz="800" dirty="0">
              <a:latin typeface="+mn-lt"/>
              <a:ea typeface="Calibri" panose="020F0502020204030204" pitchFamily="34" charset="0"/>
              <a:cs typeface="Calibri" panose="020F0502020204030204" pitchFamily="34" charset="0"/>
            </a:endParaRPr>
          </a:p>
          <a:p>
            <a:pPr lvl="0" indent="268288" defTabSz="268288">
              <a:buFontTx/>
              <a:buChar char="•"/>
            </a:pPr>
            <a:r>
              <a:rPr lang="en-US" altLang="en-US" sz="1200" b="1" dirty="0">
                <a:latin typeface="+mn-lt"/>
                <a:ea typeface="Calibri" panose="020F0502020204030204" pitchFamily="34" charset="0"/>
                <a:cs typeface="Calibri" panose="020F0502020204030204" pitchFamily="34" charset="0"/>
              </a:rPr>
              <a:t> </a:t>
            </a:r>
            <a:r>
              <a:rPr lang="en-US" altLang="en-US" sz="1200" b="1" dirty="0">
                <a:solidFill>
                  <a:srgbClr val="FF0000"/>
                </a:solidFill>
                <a:latin typeface="+mn-lt"/>
                <a:ea typeface="Calibri" panose="020F0502020204030204" pitchFamily="34" charset="0"/>
                <a:cs typeface="Calibri" panose="020F0502020204030204" pitchFamily="34" charset="0"/>
              </a:rPr>
              <a:t>Several current BBL and WBBL players </a:t>
            </a:r>
            <a:r>
              <a:rPr lang="en-US" altLang="en-US" sz="1200" dirty="0">
                <a:latin typeface="+mn-lt"/>
                <a:ea typeface="Calibri" panose="020F0502020204030204" pitchFamily="34" charset="0"/>
                <a:cs typeface="Calibri" panose="020F0502020204030204" pitchFamily="34" charset="0"/>
              </a:rPr>
              <a:t>competing in the NICL competition including Clive Rose, Clint Hinchcliffe, Kara</a:t>
            </a:r>
            <a:br>
              <a:rPr lang="en-US" altLang="en-US" sz="1200" dirty="0">
                <a:latin typeface="+mn-lt"/>
                <a:ea typeface="Calibri" panose="020F0502020204030204" pitchFamily="34" charset="0"/>
                <a:cs typeface="Calibri" panose="020F0502020204030204" pitchFamily="34" charset="0"/>
              </a:rPr>
            </a:br>
            <a:r>
              <a:rPr lang="en-US" altLang="en-US" sz="1200" dirty="0">
                <a:latin typeface="+mn-lt"/>
                <a:ea typeface="Calibri" panose="020F0502020204030204" pitchFamily="34" charset="0"/>
                <a:cs typeface="Calibri" panose="020F0502020204030204" pitchFamily="34" charset="0"/>
              </a:rPr>
              <a:t>        Sutherland, Tegan McPharlin and Carly Leeson.</a:t>
            </a:r>
          </a:p>
          <a:p>
            <a:pPr lvl="0" indent="268288" defTabSz="268288">
              <a:buFontTx/>
              <a:buChar char="•"/>
            </a:pPr>
            <a:endParaRPr lang="en-US" altLang="en-US" sz="1400" dirty="0">
              <a:latin typeface="+mn-lt"/>
              <a:ea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AAFC0213-DF73-4E9B-B1BC-05DBA3D62F12}"/>
              </a:ext>
            </a:extLst>
          </p:cNvPr>
          <p:cNvPicPr>
            <a:picLocks noChangeAspect="1"/>
          </p:cNvPicPr>
          <p:nvPr/>
        </p:nvPicPr>
        <p:blipFill rotWithShape="1">
          <a:blip r:embed="rId2"/>
          <a:srcRect t="92095" r="2074"/>
          <a:stretch/>
        </p:blipFill>
        <p:spPr>
          <a:xfrm>
            <a:off x="-13557" y="6483177"/>
            <a:ext cx="12219113" cy="400685"/>
          </a:xfrm>
          <a:prstGeom prst="rect">
            <a:avLst/>
          </a:prstGeom>
        </p:spPr>
      </p:pic>
    </p:spTree>
    <p:extLst>
      <p:ext uri="{BB962C8B-B14F-4D97-AF65-F5344CB8AC3E}">
        <p14:creationId xmlns:p14="http://schemas.microsoft.com/office/powerpoint/2010/main" val="2735939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a:spLocks noGrp="1"/>
          </p:cNvSpPr>
          <p:nvPr>
            <p:ph type="body" idx="1"/>
          </p:nvPr>
        </p:nvSpPr>
        <p:spPr>
          <a:xfrm>
            <a:off x="476539" y="450739"/>
            <a:ext cx="8496000" cy="624254"/>
          </a:xfrm>
        </p:spPr>
        <p:txBody>
          <a:bodyPr>
            <a:noAutofit/>
          </a:bodyPr>
          <a:lstStyle/>
          <a:p>
            <a:pPr algn="l"/>
            <a:r>
              <a:rPr lang="en-US" sz="4000" dirty="0">
                <a:solidFill>
                  <a:schemeClr val="tx1"/>
                </a:solidFill>
                <a:latin typeface="Bebas Neue Bold" panose="020B0606020202050201" pitchFamily="34" charset="0"/>
              </a:rPr>
              <a:t>Sponsorship Reach</a:t>
            </a:r>
            <a:endParaRPr lang="en-AU" sz="4000" dirty="0">
              <a:solidFill>
                <a:schemeClr val="tx1"/>
              </a:solidFill>
              <a:latin typeface="Bebas Neue Bold" panose="020B0606020202050201" pitchFamily="34" charset="0"/>
            </a:endParaRPr>
          </a:p>
        </p:txBody>
      </p:sp>
      <p:sp>
        <p:nvSpPr>
          <p:cNvPr id="48" name="Slide Number Placeholder 3"/>
          <p:cNvSpPr>
            <a:spLocks noGrp="1"/>
          </p:cNvSpPr>
          <p:nvPr>
            <p:ph type="sldNum" sz="quarter" idx="12"/>
          </p:nvPr>
        </p:nvSpPr>
        <p:spPr>
          <a:xfrm>
            <a:off x="9116888" y="6525344"/>
            <a:ext cx="2743200" cy="332656"/>
          </a:xfrm>
        </p:spPr>
        <p:txBody>
          <a:bodyPr/>
          <a:lstStyle/>
          <a:p>
            <a:fld id="{3B70454A-8E27-4F45-B6EF-6D568230227A}" type="slidenum">
              <a:rPr lang="en-US" smtClean="0"/>
              <a:t>3</a:t>
            </a:fld>
            <a:endParaRPr lang="en-US"/>
          </a:p>
        </p:txBody>
      </p:sp>
      <p:sp>
        <p:nvSpPr>
          <p:cNvPr id="2" name="Rectangle 1"/>
          <p:cNvSpPr>
            <a:spLocks noChangeArrowheads="1"/>
          </p:cNvSpPr>
          <p:nvPr/>
        </p:nvSpPr>
        <p:spPr bwMode="auto">
          <a:xfrm>
            <a:off x="1009305" y="1661898"/>
            <a:ext cx="4781896"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defTabSz="914400" rtl="0" eaLnBrk="0" fontAlgn="base" latinLnBrk="0" hangingPunct="0">
              <a:lnSpc>
                <a:spcPct val="100000"/>
              </a:lnSpc>
              <a:spcBef>
                <a:spcPct val="0"/>
              </a:spcBef>
              <a:spcAft>
                <a:spcPct val="0"/>
              </a:spcAft>
              <a:buClrTx/>
              <a:buSzTx/>
              <a:tabLst/>
            </a:pPr>
            <a:r>
              <a:rPr kumimoji="0" lang="en-US" altLang="en-US" sz="2400" b="1" i="0" u="none" strike="noStrike" cap="none" normalizeH="0" baseline="0" dirty="0">
                <a:ln>
                  <a:noFill/>
                </a:ln>
                <a:solidFill>
                  <a:schemeClr val="tx1"/>
                </a:solidFill>
                <a:effectLst/>
                <a:latin typeface="Bebas Neue Bold" panose="020B0606020202050201" pitchFamily="34" charset="0"/>
                <a:ea typeface="Times New Roman" panose="02020603050405020304" pitchFamily="18" charset="0"/>
                <a:cs typeface="Arial" panose="020B0604020202020204" pitchFamily="34" charset="0"/>
              </a:rPr>
              <a:t>Live Streamed Games</a:t>
            </a:r>
          </a:p>
          <a:p>
            <a:r>
              <a:rPr lang="en-US" altLang="en-US" sz="1600" b="1" dirty="0">
                <a:solidFill>
                  <a:srgbClr val="FF0000"/>
                </a:solidFill>
                <a:latin typeface="+mn-lt"/>
                <a:ea typeface="Times New Roman" panose="02020603050405020304" pitchFamily="18" charset="0"/>
                <a:cs typeface="Arial" panose="020B0604020202020204" pitchFamily="34" charset="0"/>
              </a:rPr>
              <a:t>Average of 1 </a:t>
            </a:r>
            <a:r>
              <a:rPr kumimoji="0" lang="en-US" altLang="en-US" sz="1600" b="1" i="0" u="none" strike="noStrike" cap="none" normalizeH="0" baseline="0" dirty="0">
                <a:ln>
                  <a:noFill/>
                </a:ln>
                <a:solidFill>
                  <a:srgbClr val="FF0000"/>
                </a:solidFill>
                <a:effectLst/>
                <a:latin typeface="+mn-lt"/>
                <a:ea typeface="Times New Roman" panose="02020603050405020304" pitchFamily="18" charset="0"/>
                <a:cs typeface="Arial" panose="020B0604020202020204" pitchFamily="34" charset="0"/>
              </a:rPr>
              <a:t>million video views</a:t>
            </a:r>
            <a:r>
              <a:rPr kumimoji="0" lang="en-US" altLang="en-US" sz="1600" b="0" i="0" u="none" strike="noStrike" cap="none" normalizeH="0" baseline="0" dirty="0">
                <a:ln>
                  <a:noFill/>
                </a:ln>
                <a:solidFill>
                  <a:schemeClr val="tx1"/>
                </a:solidFill>
                <a:effectLst/>
                <a:latin typeface="+mn-lt"/>
                <a:ea typeface="Times New Roman" panose="02020603050405020304" pitchFamily="18" charset="0"/>
                <a:cs typeface="Arial" panose="020B0604020202020204" pitchFamily="34" charset="0"/>
              </a:rPr>
              <a:t> across the competition period each year, with an </a:t>
            </a:r>
            <a:r>
              <a:rPr kumimoji="0" lang="en-US" altLang="en-US" sz="1600" b="1" i="0" u="none" strike="noStrike" cap="none" normalizeH="0" baseline="0" dirty="0">
                <a:ln>
                  <a:noFill/>
                </a:ln>
                <a:solidFill>
                  <a:srgbClr val="FF0000"/>
                </a:solidFill>
                <a:effectLst/>
                <a:latin typeface="+mn-lt"/>
                <a:ea typeface="Times New Roman" panose="02020603050405020304" pitchFamily="18" charset="0"/>
                <a:cs typeface="Arial" panose="020B0604020202020204" pitchFamily="34" charset="0"/>
              </a:rPr>
              <a:t>average of over </a:t>
            </a:r>
            <a:r>
              <a:rPr lang="en-US" altLang="en-US" sz="1600" b="1" dirty="0">
                <a:solidFill>
                  <a:srgbClr val="FF0000"/>
                </a:solidFill>
                <a:latin typeface="+mn-lt"/>
                <a:ea typeface="Times New Roman" panose="02020603050405020304" pitchFamily="18" charset="0"/>
                <a:cs typeface="Arial" panose="020B0604020202020204" pitchFamily="34" charset="0"/>
              </a:rPr>
              <a:t>14000</a:t>
            </a:r>
            <a:r>
              <a:rPr kumimoji="0" lang="en-US" altLang="en-US" sz="1600" b="1" i="0" u="none" strike="noStrike" cap="none" normalizeH="0" baseline="0" dirty="0">
                <a:ln>
                  <a:noFill/>
                </a:ln>
                <a:solidFill>
                  <a:srgbClr val="FF0000"/>
                </a:solidFill>
                <a:effectLst/>
                <a:latin typeface="+mn-lt"/>
                <a:ea typeface="Times New Roman" panose="02020603050405020304" pitchFamily="18" charset="0"/>
                <a:cs typeface="Arial" panose="020B0604020202020204" pitchFamily="34" charset="0"/>
              </a:rPr>
              <a:t> views for every streamed </a:t>
            </a:r>
            <a:r>
              <a:rPr lang="en-US" altLang="en-US" sz="1600" b="1" dirty="0">
                <a:solidFill>
                  <a:srgbClr val="FF0000"/>
                </a:solidFill>
                <a:latin typeface="+mn-lt"/>
                <a:ea typeface="Times New Roman" panose="02020603050405020304" pitchFamily="18" charset="0"/>
                <a:cs typeface="Arial" panose="020B0604020202020204" pitchFamily="34" charset="0"/>
              </a:rPr>
              <a:t>weekend </a:t>
            </a:r>
            <a:r>
              <a:rPr kumimoji="0" lang="en-US" altLang="en-US" sz="1600" b="0" i="0" u="none" strike="noStrike" cap="none" normalizeH="0" baseline="0" dirty="0">
                <a:ln>
                  <a:noFill/>
                </a:ln>
                <a:solidFill>
                  <a:schemeClr val="tx1"/>
                </a:solidFill>
                <a:effectLst/>
                <a:latin typeface="+mn-lt"/>
                <a:ea typeface="Times New Roman" panose="02020603050405020304" pitchFamily="18" charset="0"/>
                <a:cs typeface="Arial" panose="020B0604020202020204" pitchFamily="34" charset="0"/>
              </a:rPr>
              <a:t>across Facebook</a:t>
            </a:r>
            <a:r>
              <a:rPr lang="en-US" altLang="en-US" sz="1600" dirty="0">
                <a:latin typeface="+mn-lt"/>
                <a:ea typeface="Times New Roman" panose="02020603050405020304" pitchFamily="18" charset="0"/>
                <a:cs typeface="Arial" panose="020B0604020202020204" pitchFamily="34" charset="0"/>
              </a:rPr>
              <a:t>.</a:t>
            </a:r>
          </a:p>
        </p:txBody>
      </p:sp>
      <p:sp>
        <p:nvSpPr>
          <p:cNvPr id="17" name="Rectangle 16"/>
          <p:cNvSpPr/>
          <p:nvPr/>
        </p:nvSpPr>
        <p:spPr>
          <a:xfrm>
            <a:off x="964946" y="4799395"/>
            <a:ext cx="4870614" cy="954107"/>
          </a:xfrm>
          <a:prstGeom prst="rect">
            <a:avLst/>
          </a:prstGeom>
        </p:spPr>
        <p:txBody>
          <a:bodyPr wrap="square">
            <a:spAutoFit/>
          </a:bodyPr>
          <a:lstStyle/>
          <a:p>
            <a:r>
              <a:rPr lang="en-AU" altLang="en-US" sz="2400" b="1" dirty="0">
                <a:latin typeface="Bebas Neue Bold" panose="020B0606020202050201" pitchFamily="34" charset="0"/>
                <a:ea typeface="Calibri" panose="020F0502020204030204" pitchFamily="34" charset="0"/>
                <a:cs typeface="Arial" panose="020B0604020202020204" pitchFamily="34" charset="0"/>
              </a:rPr>
              <a:t>Website</a:t>
            </a:r>
          </a:p>
          <a:p>
            <a:pPr lvl="0" eaLnBrk="0" fontAlgn="base" hangingPunct="0">
              <a:spcBef>
                <a:spcPct val="0"/>
              </a:spcBef>
              <a:spcAft>
                <a:spcPct val="0"/>
              </a:spcAft>
            </a:pPr>
            <a:r>
              <a:rPr lang="en-US" altLang="en-US" sz="1600" b="1" dirty="0">
                <a:solidFill>
                  <a:srgbClr val="FF0000"/>
                </a:solidFill>
                <a:ea typeface="Times New Roman" panose="02020603050405020304" pitchFamily="18" charset="0"/>
                <a:cs typeface="Arial" panose="020B0604020202020204" pitchFamily="34" charset="0"/>
              </a:rPr>
              <a:t>Over 20K page views </a:t>
            </a:r>
            <a:r>
              <a:rPr lang="en-US" altLang="en-US" sz="1600" dirty="0">
                <a:ea typeface="Times New Roman" panose="02020603050405020304" pitchFamily="18" charset="0"/>
                <a:cs typeface="Arial" panose="020B0604020202020204" pitchFamily="34" charset="0"/>
              </a:rPr>
              <a:t>of the NICL website between April - September 2019.</a:t>
            </a:r>
          </a:p>
        </p:txBody>
      </p:sp>
      <p:sp>
        <p:nvSpPr>
          <p:cNvPr id="18" name="Rectangle 17"/>
          <p:cNvSpPr/>
          <p:nvPr/>
        </p:nvSpPr>
        <p:spPr>
          <a:xfrm>
            <a:off x="1009303" y="3353757"/>
            <a:ext cx="4870615" cy="1200329"/>
          </a:xfrm>
          <a:prstGeom prst="rect">
            <a:avLst/>
          </a:prstGeom>
        </p:spPr>
        <p:txBody>
          <a:bodyPr wrap="square">
            <a:spAutoFit/>
          </a:bodyPr>
          <a:lstStyle/>
          <a:p>
            <a:r>
              <a:rPr lang="en-AU" altLang="en-US" sz="2400" b="1" dirty="0">
                <a:latin typeface="Bebas Neue Bold" panose="020B0606020202050201" pitchFamily="34" charset="0"/>
                <a:ea typeface="Calibri" panose="020F0502020204030204" pitchFamily="34" charset="0"/>
                <a:cs typeface="Arial" panose="020B0604020202020204" pitchFamily="34" charset="0"/>
              </a:rPr>
              <a:t>Marketing Collateral</a:t>
            </a:r>
          </a:p>
          <a:p>
            <a:pPr lvl="0" eaLnBrk="0" fontAlgn="base" hangingPunct="0">
              <a:spcBef>
                <a:spcPct val="0"/>
              </a:spcBef>
              <a:spcAft>
                <a:spcPct val="0"/>
              </a:spcAft>
            </a:pPr>
            <a:r>
              <a:rPr lang="en-US" altLang="en-US" sz="1600" dirty="0">
                <a:cs typeface="Arial" panose="020B0604020202020204" pitchFamily="34" charset="0"/>
              </a:rPr>
              <a:t>Social media assets shared weekly to the </a:t>
            </a:r>
            <a:r>
              <a:rPr lang="en-US" altLang="en-US" sz="1600" b="1" dirty="0">
                <a:solidFill>
                  <a:srgbClr val="FF0000"/>
                </a:solidFill>
                <a:cs typeface="Arial" panose="020B0604020202020204" pitchFamily="34" charset="0"/>
              </a:rPr>
              <a:t>Cricket Australia Indoor Facebook page with over 35k followers.</a:t>
            </a:r>
            <a:endParaRPr lang="en-AU" altLang="en-US" sz="1600" dirty="0">
              <a:cs typeface="Arial" panose="020B0604020202020204" pitchFamily="34" charset="0"/>
            </a:endParaRPr>
          </a:p>
        </p:txBody>
      </p:sp>
      <p:pic>
        <p:nvPicPr>
          <p:cNvPr id="8" name="Picture 7" descr="A picture containing meter, food&#10;&#10;Description automatically generated">
            <a:extLst>
              <a:ext uri="{FF2B5EF4-FFF2-40B4-BE49-F238E27FC236}">
                <a16:creationId xmlns:a16="http://schemas.microsoft.com/office/drawing/2014/main" id="{83759F8F-F604-4ABB-819E-C8BD0F475E56}"/>
              </a:ext>
            </a:extLst>
          </p:cNvPr>
          <p:cNvPicPr>
            <a:picLocks noChangeAspect="1"/>
          </p:cNvPicPr>
          <p:nvPr/>
        </p:nvPicPr>
        <p:blipFill>
          <a:blip r:embed="rId3"/>
          <a:stretch>
            <a:fillRect/>
          </a:stretch>
        </p:blipFill>
        <p:spPr>
          <a:xfrm>
            <a:off x="8786613" y="3770512"/>
            <a:ext cx="2474531" cy="2474531"/>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31598F54-B4D4-4DDA-883B-4091EB08E22E}"/>
              </a:ext>
            </a:extLst>
          </p:cNvPr>
          <p:cNvPicPr>
            <a:picLocks noChangeAspect="1"/>
          </p:cNvPicPr>
          <p:nvPr/>
        </p:nvPicPr>
        <p:blipFill>
          <a:blip r:embed="rId4"/>
          <a:stretch>
            <a:fillRect/>
          </a:stretch>
        </p:blipFill>
        <p:spPr>
          <a:xfrm>
            <a:off x="6096000" y="3770511"/>
            <a:ext cx="2474531" cy="2474531"/>
          </a:xfrm>
          <a:prstGeom prst="rect">
            <a:avLst/>
          </a:prstGeom>
        </p:spPr>
      </p:pic>
      <p:pic>
        <p:nvPicPr>
          <p:cNvPr id="11" name="Picture 10">
            <a:extLst>
              <a:ext uri="{FF2B5EF4-FFF2-40B4-BE49-F238E27FC236}">
                <a16:creationId xmlns:a16="http://schemas.microsoft.com/office/drawing/2014/main" id="{F7DF0317-783A-4BA5-AB49-2677E9F609B9}"/>
              </a:ext>
            </a:extLst>
          </p:cNvPr>
          <p:cNvPicPr>
            <a:picLocks noChangeAspect="1"/>
          </p:cNvPicPr>
          <p:nvPr/>
        </p:nvPicPr>
        <p:blipFill>
          <a:blip r:embed="rId5"/>
          <a:stretch>
            <a:fillRect/>
          </a:stretch>
        </p:blipFill>
        <p:spPr>
          <a:xfrm>
            <a:off x="6096000" y="701658"/>
            <a:ext cx="4107158" cy="2727342"/>
          </a:xfrm>
          <a:prstGeom prst="rect">
            <a:avLst/>
          </a:prstGeom>
        </p:spPr>
      </p:pic>
      <p:pic>
        <p:nvPicPr>
          <p:cNvPr id="12" name="Picture 11">
            <a:extLst>
              <a:ext uri="{FF2B5EF4-FFF2-40B4-BE49-F238E27FC236}">
                <a16:creationId xmlns:a16="http://schemas.microsoft.com/office/drawing/2014/main" id="{10B4510A-73C5-4907-907B-5E1B6D922A72}"/>
              </a:ext>
            </a:extLst>
          </p:cNvPr>
          <p:cNvPicPr>
            <a:picLocks noChangeAspect="1"/>
          </p:cNvPicPr>
          <p:nvPr/>
        </p:nvPicPr>
        <p:blipFill rotWithShape="1">
          <a:blip r:embed="rId6"/>
          <a:srcRect t="92095" r="2074"/>
          <a:stretch/>
        </p:blipFill>
        <p:spPr>
          <a:xfrm>
            <a:off x="-13557" y="6483177"/>
            <a:ext cx="12219113" cy="400685"/>
          </a:xfrm>
          <a:prstGeom prst="rect">
            <a:avLst/>
          </a:prstGeom>
        </p:spPr>
      </p:pic>
    </p:spTree>
    <p:extLst>
      <p:ext uri="{BB962C8B-B14F-4D97-AF65-F5344CB8AC3E}">
        <p14:creationId xmlns:p14="http://schemas.microsoft.com/office/powerpoint/2010/main" val="234161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B70454A-8E27-4F45-B6EF-6D568230227A}" type="slidenum">
              <a:rPr lang="en-US" smtClean="0"/>
              <a:t>4</a:t>
            </a:fld>
            <a:endParaRPr lang="en-US"/>
          </a:p>
        </p:txBody>
      </p:sp>
      <p:sp>
        <p:nvSpPr>
          <p:cNvPr id="12" name="Rectangle 11"/>
          <p:cNvSpPr/>
          <p:nvPr/>
        </p:nvSpPr>
        <p:spPr>
          <a:xfrm>
            <a:off x="322816" y="351618"/>
            <a:ext cx="8496000" cy="604781"/>
          </a:xfrm>
          <a:prstGeom prst="rect">
            <a:avLst/>
          </a:prstGeom>
        </p:spPr>
        <p:txBody>
          <a:bodyPr wrap="square">
            <a:spAutoFit/>
          </a:bodyPr>
          <a:lstStyle/>
          <a:p>
            <a:pPr lvl="0">
              <a:lnSpc>
                <a:spcPct val="90000"/>
              </a:lnSpc>
              <a:spcBef>
                <a:spcPts val="1000"/>
              </a:spcBef>
              <a:buClr>
                <a:srgbClr val="004712"/>
              </a:buClr>
            </a:pPr>
            <a:r>
              <a:rPr lang="en-US" sz="3600" b="1" dirty="0">
                <a:latin typeface="Bebas Neue Bold" panose="020B0606020202050201" pitchFamily="34" charset="0"/>
              </a:rPr>
              <a:t>Sponsor Recognition</a:t>
            </a:r>
            <a:endParaRPr lang="en-AU" sz="3600" b="1" dirty="0">
              <a:latin typeface="Bebas Neue Bold" panose="020B0606020202050201" pitchFamily="34" charset="0"/>
            </a:endParaRPr>
          </a:p>
        </p:txBody>
      </p:sp>
      <p:pic>
        <p:nvPicPr>
          <p:cNvPr id="5" name="Picture 4">
            <a:extLst>
              <a:ext uri="{FF2B5EF4-FFF2-40B4-BE49-F238E27FC236}">
                <a16:creationId xmlns:a16="http://schemas.microsoft.com/office/drawing/2014/main" id="{FA056C18-54A8-4212-A4D5-A3788F33064E}"/>
              </a:ext>
            </a:extLst>
          </p:cNvPr>
          <p:cNvPicPr>
            <a:picLocks noChangeAspect="1"/>
          </p:cNvPicPr>
          <p:nvPr/>
        </p:nvPicPr>
        <p:blipFill>
          <a:blip r:embed="rId2"/>
          <a:stretch>
            <a:fillRect/>
          </a:stretch>
        </p:blipFill>
        <p:spPr>
          <a:xfrm>
            <a:off x="322816" y="1189687"/>
            <a:ext cx="5047857" cy="2015987"/>
          </a:xfrm>
          <a:prstGeom prst="rect">
            <a:avLst/>
          </a:prstGeom>
        </p:spPr>
      </p:pic>
      <p:pic>
        <p:nvPicPr>
          <p:cNvPr id="6" name="Picture 5">
            <a:extLst>
              <a:ext uri="{FF2B5EF4-FFF2-40B4-BE49-F238E27FC236}">
                <a16:creationId xmlns:a16="http://schemas.microsoft.com/office/drawing/2014/main" id="{B48EBD20-85DA-4734-AE0B-E2257851118A}"/>
              </a:ext>
            </a:extLst>
          </p:cNvPr>
          <p:cNvPicPr>
            <a:picLocks noChangeAspect="1"/>
          </p:cNvPicPr>
          <p:nvPr/>
        </p:nvPicPr>
        <p:blipFill>
          <a:blip r:embed="rId3"/>
          <a:stretch>
            <a:fillRect/>
          </a:stretch>
        </p:blipFill>
        <p:spPr>
          <a:xfrm>
            <a:off x="650176" y="3425291"/>
            <a:ext cx="2970280" cy="2990730"/>
          </a:xfrm>
          <a:prstGeom prst="rect">
            <a:avLst/>
          </a:prstGeom>
        </p:spPr>
      </p:pic>
      <p:pic>
        <p:nvPicPr>
          <p:cNvPr id="8" name="Picture 7">
            <a:extLst>
              <a:ext uri="{FF2B5EF4-FFF2-40B4-BE49-F238E27FC236}">
                <a16:creationId xmlns:a16="http://schemas.microsoft.com/office/drawing/2014/main" id="{483FAE7D-33B0-4E97-8B07-9D094BBBDEFB}"/>
              </a:ext>
            </a:extLst>
          </p:cNvPr>
          <p:cNvPicPr>
            <a:picLocks noChangeAspect="1"/>
          </p:cNvPicPr>
          <p:nvPr/>
        </p:nvPicPr>
        <p:blipFill>
          <a:blip r:embed="rId4"/>
          <a:stretch>
            <a:fillRect/>
          </a:stretch>
        </p:blipFill>
        <p:spPr>
          <a:xfrm>
            <a:off x="5736414" y="787992"/>
            <a:ext cx="4693146" cy="2417682"/>
          </a:xfrm>
          <a:prstGeom prst="rect">
            <a:avLst/>
          </a:prstGeom>
        </p:spPr>
      </p:pic>
      <p:pic>
        <p:nvPicPr>
          <p:cNvPr id="10" name="Picture 9">
            <a:extLst>
              <a:ext uri="{FF2B5EF4-FFF2-40B4-BE49-F238E27FC236}">
                <a16:creationId xmlns:a16="http://schemas.microsoft.com/office/drawing/2014/main" id="{9FD43091-FBAF-491C-815C-63B5B09D8306}"/>
              </a:ext>
            </a:extLst>
          </p:cNvPr>
          <p:cNvPicPr>
            <a:picLocks noChangeAspect="1"/>
          </p:cNvPicPr>
          <p:nvPr/>
        </p:nvPicPr>
        <p:blipFill>
          <a:blip r:embed="rId5"/>
          <a:stretch>
            <a:fillRect/>
          </a:stretch>
        </p:blipFill>
        <p:spPr>
          <a:xfrm>
            <a:off x="8571542" y="3425291"/>
            <a:ext cx="3061657" cy="2891834"/>
          </a:xfrm>
          <a:prstGeom prst="rect">
            <a:avLst/>
          </a:prstGeom>
        </p:spPr>
      </p:pic>
      <p:pic>
        <p:nvPicPr>
          <p:cNvPr id="11" name="Picture 10">
            <a:extLst>
              <a:ext uri="{FF2B5EF4-FFF2-40B4-BE49-F238E27FC236}">
                <a16:creationId xmlns:a16="http://schemas.microsoft.com/office/drawing/2014/main" id="{ECE459DC-161B-42B6-9D6E-35F170C0EE56}"/>
              </a:ext>
            </a:extLst>
          </p:cNvPr>
          <p:cNvPicPr>
            <a:picLocks noChangeAspect="1"/>
          </p:cNvPicPr>
          <p:nvPr/>
        </p:nvPicPr>
        <p:blipFill>
          <a:blip r:embed="rId6"/>
          <a:stretch>
            <a:fillRect/>
          </a:stretch>
        </p:blipFill>
        <p:spPr>
          <a:xfrm>
            <a:off x="3873175" y="3425291"/>
            <a:ext cx="4445649" cy="2845959"/>
          </a:xfrm>
          <a:prstGeom prst="rect">
            <a:avLst/>
          </a:prstGeom>
        </p:spPr>
      </p:pic>
      <p:pic>
        <p:nvPicPr>
          <p:cNvPr id="9" name="Picture 8">
            <a:extLst>
              <a:ext uri="{FF2B5EF4-FFF2-40B4-BE49-F238E27FC236}">
                <a16:creationId xmlns:a16="http://schemas.microsoft.com/office/drawing/2014/main" id="{42EDA686-4D61-41D0-B3E9-C42A8996DD3C}"/>
              </a:ext>
            </a:extLst>
          </p:cNvPr>
          <p:cNvPicPr>
            <a:picLocks noChangeAspect="1"/>
          </p:cNvPicPr>
          <p:nvPr/>
        </p:nvPicPr>
        <p:blipFill rotWithShape="1">
          <a:blip r:embed="rId7"/>
          <a:srcRect t="92095" r="2074"/>
          <a:stretch/>
        </p:blipFill>
        <p:spPr>
          <a:xfrm>
            <a:off x="-13557" y="6483177"/>
            <a:ext cx="12219113" cy="400685"/>
          </a:xfrm>
          <a:prstGeom prst="rect">
            <a:avLst/>
          </a:prstGeom>
        </p:spPr>
      </p:pic>
    </p:spTree>
    <p:extLst>
      <p:ext uri="{BB962C8B-B14F-4D97-AF65-F5344CB8AC3E}">
        <p14:creationId xmlns:p14="http://schemas.microsoft.com/office/powerpoint/2010/main" val="319887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5"/>
          <p:cNvSpPr txBox="1">
            <a:spLocks/>
          </p:cNvSpPr>
          <p:nvPr/>
        </p:nvSpPr>
        <p:spPr>
          <a:xfrm>
            <a:off x="4281840" y="2195797"/>
            <a:ext cx="6202610" cy="3733593"/>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vert="horz" lIns="180000" tIns="180000" rIns="180000" bIns="180000" rtlCol="0" anchor="t">
            <a:noAutofit/>
          </a:bodyPr>
          <a:lstStyle>
            <a:lvl1pPr marL="231775" indent="-231775" algn="l" defTabSz="914400" rtl="0" eaLnBrk="1" latinLnBrk="0" hangingPunct="1">
              <a:lnSpc>
                <a:spcPct val="90000"/>
              </a:lnSpc>
              <a:spcBef>
                <a:spcPts val="1000"/>
              </a:spcBef>
              <a:buClr>
                <a:srgbClr val="004712"/>
              </a:buClr>
              <a:buFont typeface="Arial" charset="0"/>
              <a:buChar char="•"/>
              <a:tabLst/>
              <a:defRPr sz="2000" b="0" i="0" kern="1200">
                <a:solidFill>
                  <a:schemeClr val="dk1"/>
                </a:solidFill>
                <a:latin typeface="+mn-lt"/>
                <a:ea typeface="+mn-ea"/>
                <a:cs typeface="+mn-cs"/>
              </a:defRPr>
            </a:lvl1pPr>
            <a:lvl2pPr marL="404813" indent="-234950" algn="l" defTabSz="914400" rtl="0" eaLnBrk="1" latinLnBrk="0" hangingPunct="1">
              <a:lnSpc>
                <a:spcPct val="90000"/>
              </a:lnSpc>
              <a:spcBef>
                <a:spcPts val="500"/>
              </a:spcBef>
              <a:buClr>
                <a:srgbClr val="78A22F"/>
              </a:buClr>
              <a:buFont typeface="Arial"/>
              <a:buChar char="•"/>
              <a:tabLst/>
              <a:defRPr sz="2000" b="0" i="0" kern="1200">
                <a:solidFill>
                  <a:schemeClr val="dk1"/>
                </a:solidFill>
                <a:latin typeface="+mn-lt"/>
                <a:ea typeface="+mn-ea"/>
                <a:cs typeface="+mn-cs"/>
              </a:defRPr>
            </a:lvl2pPr>
            <a:lvl3pPr marL="671513" indent="-234950" algn="l" defTabSz="914400" rtl="0" eaLnBrk="1" latinLnBrk="0" hangingPunct="1">
              <a:lnSpc>
                <a:spcPct val="90000"/>
              </a:lnSpc>
              <a:spcBef>
                <a:spcPts val="500"/>
              </a:spcBef>
              <a:buClr>
                <a:srgbClr val="78A22F"/>
              </a:buClr>
              <a:buFont typeface="Arial"/>
              <a:buChar char="•"/>
              <a:tabLst/>
              <a:defRPr sz="1800" b="0" i="0" kern="1200">
                <a:solidFill>
                  <a:schemeClr val="dk1"/>
                </a:solidFill>
                <a:latin typeface="+mn-lt"/>
                <a:ea typeface="+mn-ea"/>
                <a:cs typeface="+mn-cs"/>
              </a:defRPr>
            </a:lvl3pPr>
            <a:lvl4pPr marL="9382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800" b="0" i="0" kern="1200">
                <a:solidFill>
                  <a:schemeClr val="dk1"/>
                </a:solidFill>
                <a:latin typeface="+mn-lt"/>
                <a:ea typeface="+mn-ea"/>
                <a:cs typeface="+mn-cs"/>
              </a:defRPr>
            </a:lvl4pPr>
            <a:lvl5pPr marL="12049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600" b="0" i="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9pPr>
          </a:lstStyle>
          <a:p>
            <a:pPr>
              <a:lnSpc>
                <a:spcPct val="120000"/>
              </a:lnSpc>
            </a:pPr>
            <a:endParaRPr lang="en-US" sz="1200" dirty="0">
              <a:solidFill>
                <a:schemeClr val="tx1"/>
              </a:solidFill>
            </a:endParaRPr>
          </a:p>
        </p:txBody>
      </p:sp>
      <p:sp>
        <p:nvSpPr>
          <p:cNvPr id="4" name="Slide Number Placeholder 3"/>
          <p:cNvSpPr>
            <a:spLocks noGrp="1"/>
          </p:cNvSpPr>
          <p:nvPr>
            <p:ph type="sldNum" sz="quarter" idx="12"/>
          </p:nvPr>
        </p:nvSpPr>
        <p:spPr/>
        <p:txBody>
          <a:bodyPr/>
          <a:lstStyle/>
          <a:p>
            <a:fld id="{3B70454A-8E27-4F45-B6EF-6D568230227A}" type="slidenum">
              <a:rPr lang="en-US" smtClean="0"/>
              <a:t>5</a:t>
            </a:fld>
            <a:endParaRPr lang="en-US"/>
          </a:p>
        </p:txBody>
      </p:sp>
      <p:sp>
        <p:nvSpPr>
          <p:cNvPr id="12" name="Rectangle 11"/>
          <p:cNvSpPr/>
          <p:nvPr/>
        </p:nvSpPr>
        <p:spPr>
          <a:xfrm>
            <a:off x="341696" y="374823"/>
            <a:ext cx="8496000" cy="661720"/>
          </a:xfrm>
          <a:prstGeom prst="rect">
            <a:avLst/>
          </a:prstGeom>
        </p:spPr>
        <p:txBody>
          <a:bodyPr wrap="square">
            <a:spAutoFit/>
          </a:bodyPr>
          <a:lstStyle/>
          <a:p>
            <a:pPr lvl="0">
              <a:lnSpc>
                <a:spcPct val="90000"/>
              </a:lnSpc>
              <a:spcBef>
                <a:spcPts val="1000"/>
              </a:spcBef>
              <a:buClr>
                <a:srgbClr val="004712"/>
              </a:buClr>
            </a:pPr>
            <a:r>
              <a:rPr lang="en-US" sz="4000" b="1" dirty="0">
                <a:latin typeface="Bebas Neue Bold" panose="020B0606020202050201" pitchFamily="34" charset="0"/>
              </a:rPr>
              <a:t>Sponsorship Levels – TEAM </a:t>
            </a:r>
            <a:endParaRPr lang="en-AU" sz="4000" b="1" dirty="0">
              <a:latin typeface="Bebas Neue Bold" panose="020B0606020202050201" pitchFamily="34" charset="0"/>
            </a:endParaRPr>
          </a:p>
        </p:txBody>
      </p:sp>
      <p:sp>
        <p:nvSpPr>
          <p:cNvPr id="3" name="Rectangle 2"/>
          <p:cNvSpPr/>
          <p:nvPr/>
        </p:nvSpPr>
        <p:spPr>
          <a:xfrm>
            <a:off x="341696" y="6030638"/>
            <a:ext cx="11210383" cy="338554"/>
          </a:xfrm>
          <a:prstGeom prst="rect">
            <a:avLst/>
          </a:prstGeom>
        </p:spPr>
        <p:txBody>
          <a:bodyPr wrap="square">
            <a:spAutoFit/>
          </a:bodyPr>
          <a:lstStyle/>
          <a:p>
            <a:pPr lvl="0" algn="ctr" defTabSz="268288" eaLnBrk="0" fontAlgn="base" hangingPunct="0">
              <a:spcBef>
                <a:spcPct val="0"/>
              </a:spcBef>
              <a:spcAft>
                <a:spcPct val="0"/>
              </a:spcAft>
            </a:pPr>
            <a:endParaRPr lang="en-US" altLang="en-US" sz="500" i="1" dirty="0">
              <a:solidFill>
                <a:srgbClr val="000000"/>
              </a:solidFill>
              <a:ea typeface="Calibri" panose="020F0502020204030204" pitchFamily="34" charset="0"/>
              <a:cs typeface="Calibri" panose="020F0502020204030204" pitchFamily="34" charset="0"/>
            </a:endParaRPr>
          </a:p>
          <a:p>
            <a:pPr lvl="0" defTabSz="268288" eaLnBrk="0" fontAlgn="base" hangingPunct="0">
              <a:spcBef>
                <a:spcPct val="0"/>
              </a:spcBef>
              <a:spcAft>
                <a:spcPct val="0"/>
              </a:spcAft>
            </a:pPr>
            <a:r>
              <a:rPr lang="en-US" altLang="en-US" sz="1100" i="1" dirty="0">
                <a:solidFill>
                  <a:srgbClr val="000000"/>
                </a:solidFill>
                <a:ea typeface="Calibri" panose="020F0502020204030204" pitchFamily="34" charset="0"/>
                <a:cs typeface="Calibri" panose="020F0502020204030204" pitchFamily="34" charset="0"/>
              </a:rPr>
              <a:t>NICL teams will be required to seek approval from Cricket Australia (CA) for any sponsors to ensure that the local sponsorship does not conflict with existing CA sponsors and partners.</a:t>
            </a:r>
          </a:p>
        </p:txBody>
      </p:sp>
      <p:sp>
        <p:nvSpPr>
          <p:cNvPr id="6" name="Content Placeholder 5"/>
          <p:cNvSpPr txBox="1">
            <a:spLocks/>
          </p:cNvSpPr>
          <p:nvPr/>
        </p:nvSpPr>
        <p:spPr>
          <a:xfrm>
            <a:off x="472349" y="2195796"/>
            <a:ext cx="3620190" cy="3733593"/>
          </a:xfrm>
          <a:prstGeom prst="rect">
            <a:avLst/>
          </a:prstGeom>
          <a:ln>
            <a:solidFill>
              <a:srgbClr val="7A6656"/>
            </a:solidFill>
          </a:ln>
        </p:spPr>
        <p:style>
          <a:lnRef idx="2">
            <a:schemeClr val="accent6"/>
          </a:lnRef>
          <a:fillRef idx="1">
            <a:schemeClr val="lt1"/>
          </a:fillRef>
          <a:effectRef idx="0">
            <a:schemeClr val="accent6"/>
          </a:effectRef>
          <a:fontRef idx="minor">
            <a:schemeClr val="dk1"/>
          </a:fontRef>
        </p:style>
        <p:txBody>
          <a:bodyPr vert="horz" lIns="180000" tIns="180000" rIns="180000" bIns="180000" rtlCol="0" anchor="ctr">
            <a:noAutofit/>
          </a:bodyPr>
          <a:lstStyle>
            <a:lvl1pPr marL="231775" indent="-231775" algn="l" defTabSz="914400" rtl="0" eaLnBrk="1" latinLnBrk="0" hangingPunct="1">
              <a:lnSpc>
                <a:spcPct val="90000"/>
              </a:lnSpc>
              <a:spcBef>
                <a:spcPts val="1000"/>
              </a:spcBef>
              <a:buClr>
                <a:srgbClr val="004712"/>
              </a:buClr>
              <a:buFont typeface="Arial" charset="0"/>
              <a:buChar char="•"/>
              <a:tabLst/>
              <a:defRPr sz="2000" b="0" i="0" kern="1200">
                <a:solidFill>
                  <a:schemeClr val="dk1"/>
                </a:solidFill>
                <a:latin typeface="+mn-lt"/>
                <a:ea typeface="+mn-ea"/>
                <a:cs typeface="+mn-cs"/>
              </a:defRPr>
            </a:lvl1pPr>
            <a:lvl2pPr marL="404813" indent="-234950" algn="l" defTabSz="914400" rtl="0" eaLnBrk="1" latinLnBrk="0" hangingPunct="1">
              <a:lnSpc>
                <a:spcPct val="90000"/>
              </a:lnSpc>
              <a:spcBef>
                <a:spcPts val="500"/>
              </a:spcBef>
              <a:buClr>
                <a:srgbClr val="78A22F"/>
              </a:buClr>
              <a:buFont typeface="Arial"/>
              <a:buChar char="•"/>
              <a:tabLst/>
              <a:defRPr sz="2000" b="0" i="0" kern="1200">
                <a:solidFill>
                  <a:schemeClr val="dk1"/>
                </a:solidFill>
                <a:latin typeface="+mn-lt"/>
                <a:ea typeface="+mn-ea"/>
                <a:cs typeface="+mn-cs"/>
              </a:defRPr>
            </a:lvl2pPr>
            <a:lvl3pPr marL="671513" indent="-234950" algn="l" defTabSz="914400" rtl="0" eaLnBrk="1" latinLnBrk="0" hangingPunct="1">
              <a:lnSpc>
                <a:spcPct val="90000"/>
              </a:lnSpc>
              <a:spcBef>
                <a:spcPts val="500"/>
              </a:spcBef>
              <a:buClr>
                <a:srgbClr val="78A22F"/>
              </a:buClr>
              <a:buFont typeface="Arial"/>
              <a:buChar char="•"/>
              <a:tabLst/>
              <a:defRPr sz="1800" b="0" i="0" kern="1200">
                <a:solidFill>
                  <a:schemeClr val="dk1"/>
                </a:solidFill>
                <a:latin typeface="+mn-lt"/>
                <a:ea typeface="+mn-ea"/>
                <a:cs typeface="+mn-cs"/>
              </a:defRPr>
            </a:lvl3pPr>
            <a:lvl4pPr marL="9382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800" b="0" i="0" kern="1200">
                <a:solidFill>
                  <a:schemeClr val="dk1"/>
                </a:solidFill>
                <a:latin typeface="+mn-lt"/>
                <a:ea typeface="+mn-ea"/>
                <a:cs typeface="+mn-cs"/>
              </a:defRPr>
            </a:lvl4pPr>
            <a:lvl5pPr marL="12049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600" b="0" i="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9pPr>
          </a:lstStyle>
          <a:p>
            <a:pPr>
              <a:lnSpc>
                <a:spcPct val="120000"/>
              </a:lnSpc>
              <a:buFont typeface="Courier New" panose="02070309020205020404" pitchFamily="49" charset="0"/>
              <a:buChar char="o"/>
            </a:pPr>
            <a:r>
              <a:rPr lang="en-US" altLang="en-US" sz="1200" dirty="0">
                <a:solidFill>
                  <a:srgbClr val="000000"/>
                </a:solidFill>
                <a:ea typeface="Calibri" panose="020F0502020204030204" pitchFamily="34" charset="0"/>
                <a:cs typeface="Arial" panose="020B0604020202020204" pitchFamily="34" charset="0"/>
              </a:rPr>
              <a:t>Sponsor logo on sleeve of Team’s Playing Shirt. Each Zone (competition area) will have a minimum of one live streamed match on the CA Indoor Facebook page and the competition website.</a:t>
            </a:r>
          </a:p>
          <a:p>
            <a:pPr>
              <a:lnSpc>
                <a:spcPct val="120000"/>
              </a:lnSpc>
              <a:buFont typeface="Courier New" panose="02070309020205020404" pitchFamily="49" charset="0"/>
              <a:buChar char="o"/>
            </a:pPr>
            <a:r>
              <a:rPr lang="en-US" sz="1200" dirty="0">
                <a:solidFill>
                  <a:schemeClr val="tx1"/>
                </a:solidFill>
              </a:rPr>
              <a:t>Sponsor logo and brief description of business on the Team’s Profile Page, accessed via the competition website. Logo will link to the sponsor’s website or social media page.</a:t>
            </a:r>
          </a:p>
          <a:p>
            <a:pPr>
              <a:lnSpc>
                <a:spcPct val="120000"/>
              </a:lnSpc>
              <a:buFont typeface="Courier New" panose="02070309020205020404" pitchFamily="49" charset="0"/>
              <a:buChar char="o"/>
            </a:pPr>
            <a:r>
              <a:rPr lang="en-US" sz="1200" dirty="0">
                <a:solidFill>
                  <a:schemeClr val="tx1"/>
                </a:solidFill>
              </a:rPr>
              <a:t>Sponsor logo in various locations on off-court team apparel. Teams have the ability to design and purchase a range of off-field team apparel. </a:t>
            </a:r>
          </a:p>
        </p:txBody>
      </p:sp>
      <p:sp>
        <p:nvSpPr>
          <p:cNvPr id="7" name="Text Placeholder 1"/>
          <p:cNvSpPr>
            <a:spLocks noGrp="1"/>
          </p:cNvSpPr>
          <p:nvPr>
            <p:ph type="body" idx="1"/>
          </p:nvPr>
        </p:nvSpPr>
        <p:spPr>
          <a:xfrm>
            <a:off x="472350" y="1823711"/>
            <a:ext cx="3620189" cy="311476"/>
          </a:xfrm>
          <a:ln/>
        </p:spPr>
        <p:style>
          <a:lnRef idx="2">
            <a:schemeClr val="dk1">
              <a:shade val="50000"/>
            </a:schemeClr>
          </a:lnRef>
          <a:fillRef idx="1">
            <a:schemeClr val="dk1"/>
          </a:fillRef>
          <a:effectRef idx="0">
            <a:schemeClr val="dk1"/>
          </a:effectRef>
          <a:fontRef idx="minor">
            <a:schemeClr val="lt1"/>
          </a:fontRef>
        </p:style>
        <p:txBody>
          <a:bodyPr anchor="ctr">
            <a:noAutofit/>
          </a:bodyPr>
          <a:lstStyle/>
          <a:p>
            <a:r>
              <a:rPr lang="en-US" sz="2000" dirty="0">
                <a:solidFill>
                  <a:schemeClr val="bg1"/>
                </a:solidFill>
                <a:latin typeface="Bebas Neue Bold" panose="020B0606020202050201" pitchFamily="34" charset="0"/>
              </a:rPr>
              <a:t>MINOR PARTNER:  $100 – $500 </a:t>
            </a:r>
            <a:endParaRPr lang="en-AU" sz="2000" dirty="0">
              <a:solidFill>
                <a:schemeClr val="bg1"/>
              </a:solidFill>
              <a:latin typeface="Bebas Neue Bold" panose="020B0606020202050201" pitchFamily="34" charset="0"/>
            </a:endParaRPr>
          </a:p>
        </p:txBody>
      </p:sp>
      <p:sp>
        <p:nvSpPr>
          <p:cNvPr id="8" name="Content Placeholder 5"/>
          <p:cNvSpPr txBox="1">
            <a:spLocks/>
          </p:cNvSpPr>
          <p:nvPr/>
        </p:nvSpPr>
        <p:spPr>
          <a:xfrm>
            <a:off x="4345960" y="2243866"/>
            <a:ext cx="3012554" cy="3630220"/>
          </a:xfrm>
          <a:prstGeom prst="rect">
            <a:avLst/>
          </a:prstGeom>
          <a:ln>
            <a:noFill/>
          </a:ln>
        </p:spPr>
        <p:style>
          <a:lnRef idx="2">
            <a:schemeClr val="accent6"/>
          </a:lnRef>
          <a:fillRef idx="1">
            <a:schemeClr val="lt1"/>
          </a:fillRef>
          <a:effectRef idx="0">
            <a:schemeClr val="accent6"/>
          </a:effectRef>
          <a:fontRef idx="minor">
            <a:schemeClr val="dk1"/>
          </a:fontRef>
        </p:style>
        <p:txBody>
          <a:bodyPr vert="horz" lIns="180000" tIns="180000" rIns="180000" bIns="180000" rtlCol="0" anchor="ctr">
            <a:noAutofit/>
          </a:bodyPr>
          <a:lstStyle>
            <a:lvl1pPr marL="231775" indent="-231775" algn="l" defTabSz="914400" rtl="0" eaLnBrk="1" latinLnBrk="0" hangingPunct="1">
              <a:lnSpc>
                <a:spcPct val="90000"/>
              </a:lnSpc>
              <a:spcBef>
                <a:spcPts val="1000"/>
              </a:spcBef>
              <a:buClr>
                <a:srgbClr val="004712"/>
              </a:buClr>
              <a:buFont typeface="Arial" charset="0"/>
              <a:buChar char="•"/>
              <a:tabLst/>
              <a:defRPr sz="2000" b="0" i="0" kern="1200">
                <a:solidFill>
                  <a:schemeClr val="dk1"/>
                </a:solidFill>
                <a:latin typeface="+mn-lt"/>
                <a:ea typeface="+mn-ea"/>
                <a:cs typeface="+mn-cs"/>
              </a:defRPr>
            </a:lvl1pPr>
            <a:lvl2pPr marL="404813" indent="-234950" algn="l" defTabSz="914400" rtl="0" eaLnBrk="1" latinLnBrk="0" hangingPunct="1">
              <a:lnSpc>
                <a:spcPct val="90000"/>
              </a:lnSpc>
              <a:spcBef>
                <a:spcPts val="500"/>
              </a:spcBef>
              <a:buClr>
                <a:srgbClr val="78A22F"/>
              </a:buClr>
              <a:buFont typeface="Arial"/>
              <a:buChar char="•"/>
              <a:tabLst/>
              <a:defRPr sz="2000" b="0" i="0" kern="1200">
                <a:solidFill>
                  <a:schemeClr val="dk1"/>
                </a:solidFill>
                <a:latin typeface="+mn-lt"/>
                <a:ea typeface="+mn-ea"/>
                <a:cs typeface="+mn-cs"/>
              </a:defRPr>
            </a:lvl2pPr>
            <a:lvl3pPr marL="671513" indent="-234950" algn="l" defTabSz="914400" rtl="0" eaLnBrk="1" latinLnBrk="0" hangingPunct="1">
              <a:lnSpc>
                <a:spcPct val="90000"/>
              </a:lnSpc>
              <a:spcBef>
                <a:spcPts val="500"/>
              </a:spcBef>
              <a:buClr>
                <a:srgbClr val="78A22F"/>
              </a:buClr>
              <a:buFont typeface="Arial"/>
              <a:buChar char="•"/>
              <a:tabLst/>
              <a:defRPr sz="1800" b="0" i="0" kern="1200">
                <a:solidFill>
                  <a:schemeClr val="dk1"/>
                </a:solidFill>
                <a:latin typeface="+mn-lt"/>
                <a:ea typeface="+mn-ea"/>
                <a:cs typeface="+mn-cs"/>
              </a:defRPr>
            </a:lvl3pPr>
            <a:lvl4pPr marL="9382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800" b="0" i="0" kern="1200">
                <a:solidFill>
                  <a:schemeClr val="dk1"/>
                </a:solidFill>
                <a:latin typeface="+mn-lt"/>
                <a:ea typeface="+mn-ea"/>
                <a:cs typeface="+mn-cs"/>
              </a:defRPr>
            </a:lvl4pPr>
            <a:lvl5pPr marL="12049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600" b="0" i="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9pPr>
          </a:lstStyle>
          <a:p>
            <a:pPr>
              <a:lnSpc>
                <a:spcPct val="120000"/>
              </a:lnSpc>
              <a:buFont typeface="Courier New" panose="02070309020205020404" pitchFamily="49" charset="0"/>
              <a:buChar char="o"/>
            </a:pPr>
            <a:r>
              <a:rPr lang="en-US" altLang="en-US" sz="1200" dirty="0">
                <a:solidFill>
                  <a:srgbClr val="000000"/>
                </a:solidFill>
                <a:ea typeface="Calibri" panose="020F0502020204030204" pitchFamily="34" charset="0"/>
                <a:cs typeface="Arial" panose="020B0604020202020204" pitchFamily="34" charset="0"/>
              </a:rPr>
              <a:t>Sponsor logo in a prominent position on the front of the Team’s Playing Shirt. Zone (competition area) will have a minimum of one live streamed match on the CA Indoor Facebook page and the competition website.</a:t>
            </a:r>
          </a:p>
          <a:p>
            <a:pPr>
              <a:lnSpc>
                <a:spcPct val="120000"/>
              </a:lnSpc>
              <a:buFont typeface="Courier New" panose="02070309020205020404" pitchFamily="49" charset="0"/>
              <a:buChar char="o"/>
            </a:pPr>
            <a:r>
              <a:rPr lang="en-US" sz="1200" dirty="0">
                <a:solidFill>
                  <a:schemeClr val="tx1"/>
                </a:solidFill>
              </a:rPr>
              <a:t>Naming Rights partner of the designated NICL Team. </a:t>
            </a:r>
            <a:br>
              <a:rPr lang="en-US" sz="1200" dirty="0">
                <a:solidFill>
                  <a:schemeClr val="tx1"/>
                </a:solidFill>
              </a:rPr>
            </a:br>
            <a:r>
              <a:rPr lang="en-US" sz="1200" dirty="0">
                <a:solidFill>
                  <a:schemeClr val="tx1"/>
                </a:solidFill>
              </a:rPr>
              <a:t>(e.g. </a:t>
            </a:r>
            <a:r>
              <a:rPr lang="en-US" sz="1200" i="1" dirty="0">
                <a:solidFill>
                  <a:schemeClr val="tx1"/>
                </a:solidFill>
              </a:rPr>
              <a:t>Bunting’s </a:t>
            </a:r>
            <a:r>
              <a:rPr lang="en-US" sz="1200" dirty="0">
                <a:solidFill>
                  <a:schemeClr val="tx1"/>
                </a:solidFill>
              </a:rPr>
              <a:t>Lara Tigers) </a:t>
            </a:r>
          </a:p>
          <a:p>
            <a:pPr>
              <a:lnSpc>
                <a:spcPct val="120000"/>
              </a:lnSpc>
              <a:buFont typeface="Courier New" panose="02070309020205020404" pitchFamily="49" charset="0"/>
              <a:buChar char="o"/>
            </a:pPr>
            <a:r>
              <a:rPr lang="en-US" sz="1200" dirty="0">
                <a:solidFill>
                  <a:schemeClr val="tx1"/>
                </a:solidFill>
              </a:rPr>
              <a:t>Sponsor logo in various locations on off-court team apparel. Teams have the ability to design and purchase a range of off-field team apparel.</a:t>
            </a:r>
          </a:p>
        </p:txBody>
      </p:sp>
      <p:sp>
        <p:nvSpPr>
          <p:cNvPr id="9" name="Text Placeholder 1"/>
          <p:cNvSpPr txBox="1">
            <a:spLocks/>
          </p:cNvSpPr>
          <p:nvPr/>
        </p:nvSpPr>
        <p:spPr>
          <a:xfrm>
            <a:off x="4268959" y="1823711"/>
            <a:ext cx="6215491" cy="311476"/>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vert="horz" lIns="0" tIns="46800" rIns="0" bIns="45720" rtlCol="0" anchor="ctr">
            <a:noAutofit/>
          </a:bodyPr>
          <a:lstStyle>
            <a:lvl1pPr marL="0" indent="0" algn="ctr" defTabSz="914400" rtl="0" eaLnBrk="1" latinLnBrk="0" hangingPunct="1">
              <a:lnSpc>
                <a:spcPct val="90000"/>
              </a:lnSpc>
              <a:spcBef>
                <a:spcPts val="1000"/>
              </a:spcBef>
              <a:buClr>
                <a:srgbClr val="004712"/>
              </a:buClr>
              <a:buFont typeface="Arial" charset="0"/>
              <a:buNone/>
              <a:tabLst/>
              <a:defRPr sz="2400" b="1" i="0" kern="1200">
                <a:solidFill>
                  <a:srgbClr val="004712"/>
                </a:solidFill>
                <a:latin typeface="+mn-lt"/>
                <a:ea typeface="TheSans B7" charset="0"/>
                <a:cs typeface="TheSans B7" charset="0"/>
              </a:defRPr>
            </a:lvl1pPr>
            <a:lvl2pPr marL="457200" indent="0" algn="l" defTabSz="914400" rtl="0" eaLnBrk="1" latinLnBrk="0" hangingPunct="1">
              <a:lnSpc>
                <a:spcPct val="90000"/>
              </a:lnSpc>
              <a:spcBef>
                <a:spcPts val="500"/>
              </a:spcBef>
              <a:buClr>
                <a:srgbClr val="78A22F"/>
              </a:buClr>
              <a:buFont typeface="Arial"/>
              <a:buNone/>
              <a:tabLst/>
              <a:defRPr sz="2000" b="1" i="0" kern="1200">
                <a:solidFill>
                  <a:schemeClr val="tx1"/>
                </a:solidFill>
                <a:latin typeface="+mn-lt"/>
                <a:ea typeface="TheSans B5 Plain" charset="0"/>
                <a:cs typeface="TheSans B5 Plain" charset="0"/>
              </a:defRPr>
            </a:lvl2pPr>
            <a:lvl3pPr marL="914400" indent="0" algn="l" defTabSz="914400" rtl="0" eaLnBrk="1" latinLnBrk="0" hangingPunct="1">
              <a:lnSpc>
                <a:spcPct val="90000"/>
              </a:lnSpc>
              <a:spcBef>
                <a:spcPts val="500"/>
              </a:spcBef>
              <a:buClr>
                <a:srgbClr val="C3DF91"/>
              </a:buClr>
              <a:buFont typeface="Arial"/>
              <a:buNone/>
              <a:tabLst/>
              <a:defRPr sz="1800" b="1" i="0" kern="1200">
                <a:solidFill>
                  <a:schemeClr val="tx1"/>
                </a:solidFill>
                <a:latin typeface="+mn-lt"/>
                <a:ea typeface="TheSans B5 Plain" charset="0"/>
                <a:cs typeface="TheSans B5 Plain" charset="0"/>
              </a:defRPr>
            </a:lvl3pPr>
            <a:lvl4pPr marL="1371600" indent="0" algn="l" defTabSz="914400" rtl="0" eaLnBrk="1" latinLnBrk="0" hangingPunct="1">
              <a:lnSpc>
                <a:spcPct val="90000"/>
              </a:lnSpc>
              <a:spcBef>
                <a:spcPts val="500"/>
              </a:spcBef>
              <a:buClr>
                <a:schemeClr val="tx1">
                  <a:lumMod val="65000"/>
                  <a:lumOff val="35000"/>
                </a:schemeClr>
              </a:buClr>
              <a:buFont typeface=".AppleSystemUIFont" charset="-120"/>
              <a:buNone/>
              <a:tabLst/>
              <a:defRPr sz="1600" b="1" i="0" kern="1200">
                <a:solidFill>
                  <a:schemeClr val="tx1">
                    <a:lumMod val="65000"/>
                    <a:lumOff val="35000"/>
                  </a:schemeClr>
                </a:solidFill>
                <a:latin typeface="+mn-lt"/>
                <a:ea typeface="TheSans B5 Plain" charset="0"/>
                <a:cs typeface="TheSans B5 Plain" charset="0"/>
              </a:defRPr>
            </a:lvl4pPr>
            <a:lvl5pPr marL="1828800" indent="0" algn="l" defTabSz="914400" rtl="0" eaLnBrk="1" latinLnBrk="0" hangingPunct="1">
              <a:lnSpc>
                <a:spcPct val="90000"/>
              </a:lnSpc>
              <a:spcBef>
                <a:spcPts val="500"/>
              </a:spcBef>
              <a:buClr>
                <a:schemeClr val="tx1">
                  <a:lumMod val="65000"/>
                  <a:lumOff val="35000"/>
                </a:schemeClr>
              </a:buClr>
              <a:buFont typeface=".AppleSystemUIFont" charset="-120"/>
              <a:buNone/>
              <a:tabLst/>
              <a:defRPr sz="1600" b="1" i="0" kern="1200">
                <a:solidFill>
                  <a:schemeClr val="tx1">
                    <a:lumMod val="65000"/>
                    <a:lumOff val="35000"/>
                  </a:schemeClr>
                </a:solidFill>
                <a:latin typeface="+mn-lt"/>
                <a:ea typeface="TheSans B5 Plain" charset="0"/>
                <a:cs typeface="TheSans B5 Plain" charset="0"/>
              </a:defRPr>
            </a:lvl5pPr>
            <a:lvl6pPr marL="22860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9pPr>
          </a:lstStyle>
          <a:p>
            <a:r>
              <a:rPr lang="en-US" sz="2000" dirty="0">
                <a:solidFill>
                  <a:schemeClr val="bg1"/>
                </a:solidFill>
                <a:latin typeface="Bebas Neue Bold" panose="020B0606020202050201" pitchFamily="34" charset="0"/>
              </a:rPr>
              <a:t>MAJOR PARTER:  $1,500</a:t>
            </a:r>
            <a:endParaRPr lang="en-AU" sz="2000" dirty="0">
              <a:solidFill>
                <a:schemeClr val="bg1"/>
              </a:solidFill>
              <a:latin typeface="Bebas Neue Bold" panose="020B0606020202050201" pitchFamily="34" charset="0"/>
            </a:endParaRPr>
          </a:p>
        </p:txBody>
      </p:sp>
      <p:sp>
        <p:nvSpPr>
          <p:cNvPr id="13" name="Content Placeholder 5"/>
          <p:cNvSpPr txBox="1">
            <a:spLocks/>
          </p:cNvSpPr>
          <p:nvPr/>
        </p:nvSpPr>
        <p:spPr>
          <a:xfrm>
            <a:off x="7267073" y="2291339"/>
            <a:ext cx="3126942" cy="3582747"/>
          </a:xfrm>
          <a:prstGeom prst="rect">
            <a:avLst/>
          </a:prstGeom>
          <a:ln>
            <a:noFill/>
          </a:ln>
        </p:spPr>
        <p:style>
          <a:lnRef idx="2">
            <a:schemeClr val="accent6"/>
          </a:lnRef>
          <a:fillRef idx="1">
            <a:schemeClr val="lt1"/>
          </a:fillRef>
          <a:effectRef idx="0">
            <a:schemeClr val="accent6"/>
          </a:effectRef>
          <a:fontRef idx="minor">
            <a:schemeClr val="dk1"/>
          </a:fontRef>
        </p:style>
        <p:txBody>
          <a:bodyPr vert="horz" lIns="180000" tIns="180000" rIns="180000" bIns="180000" rtlCol="0" anchor="t">
            <a:noAutofit/>
          </a:bodyPr>
          <a:lstStyle>
            <a:lvl1pPr marL="231775" indent="-231775" algn="l" defTabSz="914400" rtl="0" eaLnBrk="1" latinLnBrk="0" hangingPunct="1">
              <a:lnSpc>
                <a:spcPct val="90000"/>
              </a:lnSpc>
              <a:spcBef>
                <a:spcPts val="1000"/>
              </a:spcBef>
              <a:buClr>
                <a:srgbClr val="004712"/>
              </a:buClr>
              <a:buFont typeface="Arial" charset="0"/>
              <a:buChar char="•"/>
              <a:tabLst/>
              <a:defRPr sz="2000" b="0" i="0" kern="1200">
                <a:solidFill>
                  <a:schemeClr val="dk1"/>
                </a:solidFill>
                <a:latin typeface="+mn-lt"/>
                <a:ea typeface="+mn-ea"/>
                <a:cs typeface="+mn-cs"/>
              </a:defRPr>
            </a:lvl1pPr>
            <a:lvl2pPr marL="404813" indent="-234950" algn="l" defTabSz="914400" rtl="0" eaLnBrk="1" latinLnBrk="0" hangingPunct="1">
              <a:lnSpc>
                <a:spcPct val="90000"/>
              </a:lnSpc>
              <a:spcBef>
                <a:spcPts val="500"/>
              </a:spcBef>
              <a:buClr>
                <a:srgbClr val="78A22F"/>
              </a:buClr>
              <a:buFont typeface="Arial"/>
              <a:buChar char="•"/>
              <a:tabLst/>
              <a:defRPr sz="2000" b="0" i="0" kern="1200">
                <a:solidFill>
                  <a:schemeClr val="dk1"/>
                </a:solidFill>
                <a:latin typeface="+mn-lt"/>
                <a:ea typeface="+mn-ea"/>
                <a:cs typeface="+mn-cs"/>
              </a:defRPr>
            </a:lvl2pPr>
            <a:lvl3pPr marL="671513" indent="-234950" algn="l" defTabSz="914400" rtl="0" eaLnBrk="1" latinLnBrk="0" hangingPunct="1">
              <a:lnSpc>
                <a:spcPct val="90000"/>
              </a:lnSpc>
              <a:spcBef>
                <a:spcPts val="500"/>
              </a:spcBef>
              <a:buClr>
                <a:srgbClr val="78A22F"/>
              </a:buClr>
              <a:buFont typeface="Arial"/>
              <a:buChar char="•"/>
              <a:tabLst/>
              <a:defRPr sz="1800" b="0" i="0" kern="1200">
                <a:solidFill>
                  <a:schemeClr val="dk1"/>
                </a:solidFill>
                <a:latin typeface="+mn-lt"/>
                <a:ea typeface="+mn-ea"/>
                <a:cs typeface="+mn-cs"/>
              </a:defRPr>
            </a:lvl3pPr>
            <a:lvl4pPr marL="9382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800" b="0" i="0" kern="1200">
                <a:solidFill>
                  <a:schemeClr val="dk1"/>
                </a:solidFill>
                <a:latin typeface="+mn-lt"/>
                <a:ea typeface="+mn-ea"/>
                <a:cs typeface="+mn-cs"/>
              </a:defRPr>
            </a:lvl4pPr>
            <a:lvl5pPr marL="1204913" indent="-223838" algn="l" defTabSz="914400" rtl="0" eaLnBrk="1" latinLnBrk="0" hangingPunct="1">
              <a:lnSpc>
                <a:spcPct val="90000"/>
              </a:lnSpc>
              <a:spcBef>
                <a:spcPts val="500"/>
              </a:spcBef>
              <a:buClr>
                <a:schemeClr val="tx1">
                  <a:lumMod val="65000"/>
                  <a:lumOff val="35000"/>
                </a:schemeClr>
              </a:buClr>
              <a:buFont typeface=".AppleSystemUIFont" charset="-120"/>
              <a:buChar char="-"/>
              <a:tabLst/>
              <a:defRPr sz="1600" b="0" i="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dk1"/>
                </a:solidFill>
                <a:latin typeface="+mn-lt"/>
                <a:ea typeface="+mn-ea"/>
                <a:cs typeface="+mn-cs"/>
              </a:defRPr>
            </a:lvl9pPr>
          </a:lstStyle>
          <a:p>
            <a:pPr>
              <a:lnSpc>
                <a:spcPct val="120000"/>
              </a:lnSpc>
              <a:buFont typeface="Courier New" panose="02070309020205020404" pitchFamily="49" charset="0"/>
              <a:buChar char="o"/>
            </a:pPr>
            <a:r>
              <a:rPr lang="en-US" sz="1200" dirty="0">
                <a:solidFill>
                  <a:schemeClr val="tx1"/>
                </a:solidFill>
              </a:rPr>
              <a:t>Signage at home matches for viewing by patrons at the match, those who view photos taken at the match and shared via social media, and those watching any live streaming coverage.</a:t>
            </a:r>
          </a:p>
          <a:p>
            <a:pPr>
              <a:lnSpc>
                <a:spcPct val="120000"/>
              </a:lnSpc>
              <a:buFont typeface="Courier New" panose="02070309020205020404" pitchFamily="49" charset="0"/>
              <a:buChar char="o"/>
            </a:pPr>
            <a:r>
              <a:rPr lang="en-US" sz="1200" dirty="0">
                <a:solidFill>
                  <a:schemeClr val="tx1"/>
                </a:solidFill>
              </a:rPr>
              <a:t>Live streaming call out of partner recognition from commentators and/or interviews during the broadcast (should the team appear on the live stream).</a:t>
            </a:r>
          </a:p>
          <a:p>
            <a:pPr marL="0" indent="0">
              <a:lnSpc>
                <a:spcPct val="120000"/>
              </a:lnSpc>
              <a:buNone/>
            </a:pPr>
            <a:r>
              <a:rPr lang="en-US" altLang="en-US" sz="1000" i="1" dirty="0">
                <a:solidFill>
                  <a:schemeClr val="tx1"/>
                </a:solidFill>
                <a:ea typeface="Calibri" panose="020F0502020204030204" pitchFamily="34" charset="0"/>
                <a:cs typeface="Arial" panose="020B0604020202020204" pitchFamily="34" charset="0"/>
              </a:rPr>
              <a:t>N.B. Should the team win the Zone Title, the sponsor will receive significant sponsorship recognition throughout the live streaming of the NICL National Finals Series.</a:t>
            </a:r>
            <a:endParaRPr lang="en-US" sz="1200" dirty="0">
              <a:solidFill>
                <a:schemeClr val="tx1"/>
              </a:solidFill>
            </a:endParaRPr>
          </a:p>
        </p:txBody>
      </p:sp>
      <p:sp>
        <p:nvSpPr>
          <p:cNvPr id="2" name="Rectangle 1"/>
          <p:cNvSpPr/>
          <p:nvPr/>
        </p:nvSpPr>
        <p:spPr>
          <a:xfrm>
            <a:off x="341696" y="1077916"/>
            <a:ext cx="9284449" cy="492443"/>
          </a:xfrm>
          <a:prstGeom prst="rect">
            <a:avLst/>
          </a:prstGeom>
        </p:spPr>
        <p:txBody>
          <a:bodyPr wrap="square">
            <a:spAutoFit/>
          </a:bodyPr>
          <a:lstStyle/>
          <a:p>
            <a:pPr lvl="0" defTabSz="268288" eaLnBrk="0" fontAlgn="base" hangingPunct="0">
              <a:spcBef>
                <a:spcPct val="0"/>
              </a:spcBef>
              <a:spcAft>
                <a:spcPct val="0"/>
              </a:spcAft>
            </a:pPr>
            <a:r>
              <a:rPr lang="en-US" altLang="en-US" sz="1300" dirty="0">
                <a:solidFill>
                  <a:srgbClr val="000000"/>
                </a:solidFill>
                <a:ea typeface="Calibri" panose="020F0502020204030204" pitchFamily="34" charset="0"/>
                <a:cs typeface="Calibri" panose="020F0502020204030204" pitchFamily="34" charset="0"/>
              </a:rPr>
              <a:t>The terms of any formal sponsorship agreement are negotiable, depending on the level of sponsorship offered and the nature of the sponsorship (financial or in-kind). However, the below levels of sponsorship are indicative of arrangements that could be negotiated. </a:t>
            </a:r>
          </a:p>
        </p:txBody>
      </p:sp>
      <p:pic>
        <p:nvPicPr>
          <p:cNvPr id="15" name="Picture 14">
            <a:extLst>
              <a:ext uri="{FF2B5EF4-FFF2-40B4-BE49-F238E27FC236}">
                <a16:creationId xmlns:a16="http://schemas.microsoft.com/office/drawing/2014/main" id="{B77D68CC-8231-4E78-9C2B-406EE666AA2B}"/>
              </a:ext>
            </a:extLst>
          </p:cNvPr>
          <p:cNvPicPr>
            <a:picLocks noChangeAspect="1"/>
          </p:cNvPicPr>
          <p:nvPr/>
        </p:nvPicPr>
        <p:blipFill rotWithShape="1">
          <a:blip r:embed="rId2"/>
          <a:srcRect t="92095" r="2074"/>
          <a:stretch/>
        </p:blipFill>
        <p:spPr>
          <a:xfrm>
            <a:off x="-13557" y="6483177"/>
            <a:ext cx="12219113" cy="400685"/>
          </a:xfrm>
          <a:prstGeom prst="rect">
            <a:avLst/>
          </a:prstGeom>
        </p:spPr>
      </p:pic>
    </p:spTree>
    <p:extLst>
      <p:ext uri="{BB962C8B-B14F-4D97-AF65-F5344CB8AC3E}">
        <p14:creationId xmlns:p14="http://schemas.microsoft.com/office/powerpoint/2010/main" val="23592602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07966811AEE864A9C0985A3959D3C96" ma:contentTypeVersion="12" ma:contentTypeDescription="Create a new document." ma:contentTypeScope="" ma:versionID="5183338b53a8d15125ab133f78efce0a">
  <xsd:schema xmlns:xsd="http://www.w3.org/2001/XMLSchema" xmlns:xs="http://www.w3.org/2001/XMLSchema" xmlns:p="http://schemas.microsoft.com/office/2006/metadata/properties" xmlns:ns1="http://schemas.microsoft.com/sharepoint/v3" xmlns:ns2="6218d42f-0828-4bfd-9301-887c39241d07" xmlns:ns3="c2bf7fdd-48e4-49bf-a1ad-163ce97f68f5" targetNamespace="http://schemas.microsoft.com/office/2006/metadata/properties" ma:root="true" ma:fieldsID="3ae07699540665f1404b9b0d210e5153" ns1:_="" ns2:_="" ns3:_="">
    <xsd:import namespace="http://schemas.microsoft.com/sharepoint/v3"/>
    <xsd:import namespace="6218d42f-0828-4bfd-9301-887c39241d07"/>
    <xsd:import namespace="c2bf7fdd-48e4-49bf-a1ad-163ce97f68f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1:_ip_UnifiedCompliancePolicyProperties" minOccurs="0"/>
                <xsd:element ref="ns1:_ip_UnifiedCompliancePolicyUIAction" minOccurs="0"/>
                <xsd:element ref="ns3:SharedWithUsers" minOccurs="0"/>
                <xsd:element ref="ns3:SharedWithDetails" minOccurs="0"/>
                <xsd:element ref="ns2:MediaServiceLocation"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18d42f-0828-4bfd-9301-887c39241d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2bf7fdd-48e4-49bf-a1ad-163ce97f68f5"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A75019-206A-4802-8E4A-CF21C7221C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218d42f-0828-4bfd-9301-887c39241d07"/>
    <ds:schemaRef ds:uri="c2bf7fdd-48e4-49bf-a1ad-163ce97f68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FF6CD9A-0945-4420-AFB5-4304B09E155B}">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B1D0345C-9F3D-46A1-9B72-F0111F7A0B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289</TotalTime>
  <Words>661</Words>
  <Application>Microsoft Office PowerPoint</Application>
  <PresentationFormat>Widescreen</PresentationFormat>
  <Paragraphs>51</Paragraphs>
  <Slides>5</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AppleSystemUIFont</vt:lpstr>
      <vt:lpstr>Arial</vt:lpstr>
      <vt:lpstr>Bebas Neue Bold</vt:lpstr>
      <vt:lpstr>Calibri</vt:lpstr>
      <vt:lpstr>Courier New</vt:lpstr>
      <vt:lpstr>TheSans B5 Plain</vt:lpstr>
      <vt:lpstr>1_Office Theme</vt:lpstr>
      <vt:lpstr>think-cell Slide</vt:lpstr>
      <vt:lpstr>Sponsorship Opportunitie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anda Hettiarachchi</dc:creator>
  <cp:lastModifiedBy>Leanne Westworth</cp:lastModifiedBy>
  <cp:revision>518</cp:revision>
  <cp:lastPrinted>2017-08-29T01:47:10Z</cp:lastPrinted>
  <dcterms:created xsi:type="dcterms:W3CDTF">2017-06-03T08:38:21Z</dcterms:created>
  <dcterms:modified xsi:type="dcterms:W3CDTF">2019-12-20T04:0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7966811AEE864A9C0985A3959D3C96</vt:lpwstr>
  </property>
</Properties>
</file>